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3804" r:id="rId1"/>
    <p:sldMasterId id="2147483849" r:id="rId2"/>
    <p:sldMasterId id="2147483872" r:id="rId3"/>
    <p:sldMasterId id="2147483884" r:id="rId4"/>
  </p:sldMasterIdLst>
  <p:notesMasterIdLst>
    <p:notesMasterId r:id="rId26"/>
  </p:notesMasterIdLst>
  <p:handoutMasterIdLst>
    <p:handoutMasterId r:id="rId27"/>
  </p:handoutMasterIdLst>
  <p:sldIdLst>
    <p:sldId id="388" r:id="rId5"/>
    <p:sldId id="386" r:id="rId6"/>
    <p:sldId id="395" r:id="rId7"/>
    <p:sldId id="396" r:id="rId8"/>
    <p:sldId id="397" r:id="rId9"/>
    <p:sldId id="398" r:id="rId10"/>
    <p:sldId id="399" r:id="rId11"/>
    <p:sldId id="400" r:id="rId12"/>
    <p:sldId id="401" r:id="rId13"/>
    <p:sldId id="402" r:id="rId14"/>
    <p:sldId id="403" r:id="rId15"/>
    <p:sldId id="404" r:id="rId16"/>
    <p:sldId id="405" r:id="rId17"/>
    <p:sldId id="387" r:id="rId18"/>
    <p:sldId id="409" r:id="rId19"/>
    <p:sldId id="412" r:id="rId20"/>
    <p:sldId id="413" r:id="rId21"/>
    <p:sldId id="414" r:id="rId22"/>
    <p:sldId id="410" r:id="rId23"/>
    <p:sldId id="406" r:id="rId24"/>
    <p:sldId id="336" r:id="rId25"/>
  </p:sldIdLst>
  <p:sldSz cx="9144000" cy="5143500" type="screen16x9"/>
  <p:notesSz cx="6858000" cy="9144000"/>
  <p:embeddedFontLst>
    <p:embeddedFont>
      <p:font typeface="Futura Bk" panose="020B0502020204020303" charset="0"/>
      <p:regular r:id="rId28"/>
      <p:bold r:id="rId29"/>
      <p:italic r:id="rId30"/>
    </p:embeddedFont>
    <p:embeddedFont>
      <p:font typeface="Calibri" panose="020F0502020204030204" pitchFamily="34" charset="0"/>
      <p:regular r:id="rId31"/>
      <p:bold r:id="rId32"/>
      <p:italic r:id="rId33"/>
      <p:boldItalic r:id="rId34"/>
    </p:embeddedFont>
    <p:embeddedFont>
      <p:font typeface="HP Simplified" panose="020B0604020202020204" charset="0"/>
      <p:regular r:id="rId35"/>
      <p:bold r:id="rId36"/>
      <p:italic r:id="rId37"/>
      <p:boldItalic r:id="rId38"/>
    </p:embeddedFont>
    <p:embeddedFont>
      <p:font typeface="Futura Hv" panose="020B0702020204020204" charset="0"/>
      <p:regular r:id="rId39"/>
    </p:embeddedFont>
    <p:embeddedFont>
      <p:font typeface="Tahoma" panose="020B0604030504040204" pitchFamily="34" charset="0"/>
      <p:regular r:id="rId40"/>
      <p:bold r:id="rId41"/>
    </p:embeddedFont>
    <p:embeddedFont>
      <p:font typeface="Lucida Grande" panose="020B0604020202020204" charset="0"/>
      <p:regular r:id="rId42"/>
      <p:bold r:id="rId43"/>
      <p:italic r:id="rId44"/>
      <p:boldItalic r:id="rId45"/>
    </p:embeddedFont>
  </p:embeddedFontLst>
  <p:custDataLst>
    <p:tags r:id="rId46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083">
          <p15:clr>
            <a:srgbClr val="A4A3A4"/>
          </p15:clr>
        </p15:guide>
        <p15:guide id="2" orient="horz" pos="743">
          <p15:clr>
            <a:srgbClr val="A4A3A4"/>
          </p15:clr>
        </p15:guide>
        <p15:guide id="3" orient="horz" pos="893">
          <p15:clr>
            <a:srgbClr val="A4A3A4"/>
          </p15:clr>
        </p15:guide>
        <p15:guide id="4" orient="horz" pos="438">
          <p15:clr>
            <a:srgbClr val="A4A3A4"/>
          </p15:clr>
        </p15:guide>
        <p15:guide id="5" orient="horz" pos="1671">
          <p15:clr>
            <a:srgbClr val="A4A3A4"/>
          </p15:clr>
        </p15:guide>
        <p15:guide id="6" orient="horz" pos="2236">
          <p15:clr>
            <a:srgbClr val="A4A3A4"/>
          </p15:clr>
        </p15:guide>
        <p15:guide id="7" orient="horz" pos="146">
          <p15:clr>
            <a:srgbClr val="A4A3A4"/>
          </p15:clr>
        </p15:guide>
        <p15:guide id="8" orient="horz" pos="2443">
          <p15:clr>
            <a:srgbClr val="A4A3A4"/>
          </p15:clr>
        </p15:guide>
        <p15:guide id="9" pos="1794">
          <p15:clr>
            <a:srgbClr val="A4A3A4"/>
          </p15:clr>
        </p15:guide>
        <p15:guide id="10" pos="2736">
          <p15:clr>
            <a:srgbClr val="A4A3A4"/>
          </p15:clr>
        </p15:guide>
        <p15:guide id="11" pos="202">
          <p15:clr>
            <a:srgbClr val="A4A3A4"/>
          </p15:clr>
        </p15:guide>
        <p15:guide id="12" pos="5322">
          <p15:clr>
            <a:srgbClr val="A4A3A4"/>
          </p15:clr>
        </p15:guide>
        <p15:guide id="13" pos="5625">
          <p15:clr>
            <a:srgbClr val="A4A3A4"/>
          </p15:clr>
        </p15:guide>
        <p15:guide id="14" pos="2878">
          <p15:clr>
            <a:srgbClr val="A4A3A4"/>
          </p15:clr>
        </p15:guide>
        <p15:guide id="15" pos="3555">
          <p15:clr>
            <a:srgbClr val="A4A3A4"/>
          </p15:clr>
        </p15:guide>
        <p15:guide id="16" pos="1965">
          <p15:clr>
            <a:srgbClr val="A4A3A4"/>
          </p15:clr>
        </p15:guide>
        <p15:guide id="17" pos="372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arikh, Bhooshan (Global Analytics)" initials="PB(A" lastIdx="7" clrIdx="0">
    <p:extLst/>
  </p:cmAuthor>
  <p:cmAuthor id="2" name="Jackson, James (Enterprise Marketing)" initials="JJ(M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9B8BB"/>
    <a:srgbClr val="01B0FF"/>
    <a:srgbClr val="0C559A"/>
    <a:srgbClr val="1A5D9D"/>
    <a:srgbClr val="0D5297"/>
    <a:srgbClr val="37C1FF"/>
    <a:srgbClr val="00A4EE"/>
    <a:srgbClr val="1098D2"/>
    <a:srgbClr val="FAAF3A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073A0DAA-6AF3-43AB-8588-CEC1D06C72B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897" autoAdjust="0"/>
    <p:restoredTop sz="94434" autoAdjust="0"/>
  </p:normalViewPr>
  <p:slideViewPr>
    <p:cSldViewPr snapToGrid="0">
      <p:cViewPr varScale="1">
        <p:scale>
          <a:sx n="98" d="100"/>
          <a:sy n="98" d="100"/>
        </p:scale>
        <p:origin x="438" y="96"/>
      </p:cViewPr>
      <p:guideLst>
        <p:guide orient="horz" pos="3083"/>
        <p:guide orient="horz" pos="743"/>
        <p:guide orient="horz" pos="893"/>
        <p:guide orient="horz" pos="438"/>
        <p:guide orient="horz" pos="1671"/>
        <p:guide orient="horz" pos="2236"/>
        <p:guide orient="horz" pos="146"/>
        <p:guide orient="horz" pos="2443"/>
        <p:guide pos="1794"/>
        <p:guide pos="2736"/>
        <p:guide pos="202"/>
        <p:guide pos="5322"/>
        <p:guide pos="5625"/>
        <p:guide pos="2878"/>
        <p:guide pos="3555"/>
        <p:guide pos="1965"/>
        <p:guide pos="3723"/>
      </p:guideLst>
    </p:cSldViewPr>
  </p:slideViewPr>
  <p:outlineViewPr>
    <p:cViewPr>
      <p:scale>
        <a:sx n="33" d="100"/>
        <a:sy n="33" d="100"/>
      </p:scale>
      <p:origin x="0" y="1984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 snapToObjects="1" showGuides="1">
      <p:cViewPr varScale="1">
        <p:scale>
          <a:sx n="117" d="100"/>
          <a:sy n="117" d="100"/>
        </p:scale>
        <p:origin x="-4024" y="-112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notesMaster" Target="notesMasters/notesMaster1.xml"/><Relationship Id="rId39" Type="http://schemas.openxmlformats.org/officeDocument/2006/relationships/font" Target="fonts/font12.fntdata"/><Relationship Id="rId21" Type="http://schemas.openxmlformats.org/officeDocument/2006/relationships/slide" Target="slides/slide17.xml"/><Relationship Id="rId34" Type="http://schemas.openxmlformats.org/officeDocument/2006/relationships/font" Target="fonts/font7.fntdata"/><Relationship Id="rId42" Type="http://schemas.openxmlformats.org/officeDocument/2006/relationships/font" Target="fonts/font15.fntdata"/><Relationship Id="rId47" Type="http://schemas.openxmlformats.org/officeDocument/2006/relationships/commentAuthors" Target="commentAuthors.xml"/><Relationship Id="rId50" Type="http://schemas.openxmlformats.org/officeDocument/2006/relationships/theme" Target="theme/theme1.xml"/><Relationship Id="rId7" Type="http://schemas.openxmlformats.org/officeDocument/2006/relationships/slide" Target="slides/slide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9" Type="http://schemas.openxmlformats.org/officeDocument/2006/relationships/font" Target="fonts/font2.fntdata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font" Target="fonts/font5.fntdata"/><Relationship Id="rId37" Type="http://schemas.openxmlformats.org/officeDocument/2006/relationships/font" Target="fonts/font10.fntdata"/><Relationship Id="rId40" Type="http://schemas.openxmlformats.org/officeDocument/2006/relationships/font" Target="fonts/font13.fntdata"/><Relationship Id="rId45" Type="http://schemas.openxmlformats.org/officeDocument/2006/relationships/font" Target="fonts/font18.fntdata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font" Target="fonts/font1.fntdata"/><Relationship Id="rId36" Type="http://schemas.openxmlformats.org/officeDocument/2006/relationships/font" Target="fonts/font9.fntdata"/><Relationship Id="rId49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font" Target="fonts/font4.fntdata"/><Relationship Id="rId44" Type="http://schemas.openxmlformats.org/officeDocument/2006/relationships/font" Target="fonts/font17.fntdata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handoutMaster" Target="handoutMasters/handoutMaster1.xml"/><Relationship Id="rId30" Type="http://schemas.openxmlformats.org/officeDocument/2006/relationships/font" Target="fonts/font3.fntdata"/><Relationship Id="rId35" Type="http://schemas.openxmlformats.org/officeDocument/2006/relationships/font" Target="fonts/font8.fntdata"/><Relationship Id="rId43" Type="http://schemas.openxmlformats.org/officeDocument/2006/relationships/font" Target="fonts/font16.fntdata"/><Relationship Id="rId48" Type="http://schemas.openxmlformats.org/officeDocument/2006/relationships/presProps" Target="presProps.xml"/><Relationship Id="rId8" Type="http://schemas.openxmlformats.org/officeDocument/2006/relationships/slide" Target="slides/slide4.xml"/><Relationship Id="rId51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font" Target="fonts/font6.fntdata"/><Relationship Id="rId38" Type="http://schemas.openxmlformats.org/officeDocument/2006/relationships/font" Target="fonts/font11.fntdata"/><Relationship Id="rId46" Type="http://schemas.openxmlformats.org/officeDocument/2006/relationships/tags" Target="tags/tag1.xml"/><Relationship Id="rId20" Type="http://schemas.openxmlformats.org/officeDocument/2006/relationships/slide" Target="slides/slide16.xml"/><Relationship Id="rId41" Type="http://schemas.openxmlformats.org/officeDocument/2006/relationships/font" Target="fonts/font14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>
              <a:latin typeface="HP Simplified"/>
              <a:cs typeface="HP Simplified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A678B55-319B-2D4F-AE49-6C1B6E1A4DDA}" type="datetimeFigureOut">
              <a:rPr lang="en-US" smtClean="0">
                <a:latin typeface="HP Simplified"/>
                <a:cs typeface="HP Simplified"/>
              </a:rPr>
              <a:pPr/>
              <a:t>10/13/2015</a:t>
            </a:fld>
            <a:endParaRPr lang="en-GB" dirty="0">
              <a:latin typeface="HP Simplified"/>
              <a:cs typeface="HP Simplified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>
              <a:latin typeface="HP Simplified"/>
              <a:cs typeface="HP Simplified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B27340-60F0-7D46-BC5B-91B08A318A82}" type="slidenum">
              <a:rPr lang="en-GB" smtClean="0">
                <a:latin typeface="HP Simplified"/>
                <a:cs typeface="HP Simplified"/>
              </a:rPr>
              <a:pPr/>
              <a:t>‹#›</a:t>
            </a:fld>
            <a:endParaRPr lang="en-GB" dirty="0">
              <a:latin typeface="HP Simplified"/>
              <a:cs typeface="HP Simplified"/>
            </a:endParaRPr>
          </a:p>
        </p:txBody>
      </p:sp>
    </p:spTree>
    <p:extLst>
      <p:ext uri="{BB962C8B-B14F-4D97-AF65-F5344CB8AC3E}">
        <p14:creationId xmlns:p14="http://schemas.microsoft.com/office/powerpoint/2010/main" val="4932174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HP Simplified"/>
                <a:cs typeface="HP Simplified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HP Simplified"/>
                <a:cs typeface="HP Simplified"/>
              </a:defRPr>
            </a:lvl1pPr>
          </a:lstStyle>
          <a:p>
            <a:fld id="{2D9CAF8C-0805-8440-B43D-DCCAAA4D80CE}" type="datetimeFigureOut">
              <a:rPr lang="en-US" smtClean="0"/>
              <a:pPr/>
              <a:t>10/13/2015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HP Simplified"/>
                <a:cs typeface="HP Simplified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HP Simplified"/>
                <a:cs typeface="HP Simplified"/>
              </a:defRPr>
            </a:lvl1pPr>
          </a:lstStyle>
          <a:p>
            <a:fld id="{22A853E8-D85F-5D49-95D2-E1D96ABFE2B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8807980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6447" y="140826"/>
            <a:ext cx="1361952" cy="234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67557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852518" cy="5143500"/>
          </a:xfrm>
          <a:prstGeom prst="rect">
            <a:avLst/>
          </a:prstGeom>
        </p:spPr>
      </p:pic>
      <p:cxnSp>
        <p:nvCxnSpPr>
          <p:cNvPr id="5" name="Straight Connector 4"/>
          <p:cNvCxnSpPr>
            <a:cxnSpLocks/>
          </p:cNvCxnSpPr>
          <p:nvPr userDrawn="1"/>
        </p:nvCxnSpPr>
        <p:spPr>
          <a:xfrm>
            <a:off x="-3630" y="637821"/>
            <a:ext cx="9144000" cy="0"/>
          </a:xfrm>
          <a:prstGeom prst="line">
            <a:avLst/>
          </a:prstGeom>
          <a:ln w="57150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5879" y="197865"/>
            <a:ext cx="1399491" cy="242106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163513" y="96838"/>
            <a:ext cx="7239000" cy="442912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 smtClean="0"/>
              <a:t>Click to edit Tit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413369" y="1078430"/>
            <a:ext cx="8278244" cy="319108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6" name="Rectangle 15"/>
          <p:cNvSpPr>
            <a:spLocks/>
          </p:cNvSpPr>
          <p:nvPr userDrawn="1"/>
        </p:nvSpPr>
        <p:spPr>
          <a:xfrm>
            <a:off x="0" y="4710953"/>
            <a:ext cx="9144000" cy="432547"/>
          </a:xfrm>
          <a:prstGeom prst="rect">
            <a:avLst/>
          </a:prstGeom>
          <a:solidFill>
            <a:schemeClr val="accent1"/>
          </a:solidFill>
        </p:spPr>
        <p:txBody>
          <a:bodyPr wrap="square" lIns="68585" tIns="34295" rIns="68585" bIns="34295" rtlCol="0" anchor="ctr">
            <a:noAutofit/>
          </a:bodyPr>
          <a:lstStyle/>
          <a:p>
            <a:pPr algn="r" fontAlgn="base">
              <a:buClr>
                <a:srgbClr val="FFFFFF">
                  <a:lumMod val="50000"/>
                </a:srgbClr>
              </a:buClr>
            </a:pPr>
            <a:r>
              <a:rPr lang="en-US" sz="1200" dirty="0" smtClean="0">
                <a:solidFill>
                  <a:srgbClr val="FFFFFF"/>
                </a:solidFill>
                <a:latin typeface="Calibri" panose="020F0502020204030204" pitchFamily="34" charset="0"/>
              </a:rPr>
              <a:t>www.edureka.co/hadoop-admin</a:t>
            </a:r>
            <a:endParaRPr lang="en-US" sz="120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0153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67557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47905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+mj-lt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588485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252520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970999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rgbClr val="000000"/>
                </a:solidFill>
                <a:latin typeface="+mn-lt"/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+mn-lt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710876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847057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505198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73512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47905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8551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36594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+mj-lt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068239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108836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018502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rgbClr val="000000"/>
                </a:solidFill>
                <a:latin typeface="+mn-lt"/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+mn-lt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764069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187569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971694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476144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29405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+mj-lt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588485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ue divider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/>
          </p:nvPr>
        </p:nvSpPr>
        <p:spPr bwMode="black">
          <a:xfrm>
            <a:off x="329184" y="238328"/>
            <a:ext cx="7222352" cy="2006703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lnSpc>
                <a:spcPct val="90000"/>
              </a:lnSpc>
              <a:defRPr sz="4000" b="1" i="0" spc="-100" baseline="0">
                <a:solidFill>
                  <a:schemeClr val="bg1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7535863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11179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19764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+mj-lt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859257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830417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  <a:lvl2pPr>
              <a:defRPr>
                <a:solidFill>
                  <a:srgbClr val="000000"/>
                </a:solidFill>
                <a:latin typeface="+mn-lt"/>
              </a:defRPr>
            </a:lvl2pPr>
            <a:lvl3pPr>
              <a:defRPr>
                <a:solidFill>
                  <a:srgbClr val="000000"/>
                </a:solidFill>
                <a:latin typeface="+mn-lt"/>
              </a:defRPr>
            </a:lvl3pPr>
            <a:lvl4pPr>
              <a:defRPr>
                <a:solidFill>
                  <a:srgbClr val="000000"/>
                </a:solidFill>
                <a:latin typeface="+mn-lt"/>
              </a:defRPr>
            </a:lvl4pPr>
            <a:lvl5pPr>
              <a:defRPr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564974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rgbClr val="000000"/>
                </a:solidFill>
                <a:latin typeface="+mn-lt"/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+mn-lt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089099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822641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329962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001589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252520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31470" y="562356"/>
            <a:ext cx="4019316" cy="37702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lnSpc>
                <a:spcPts val="3000"/>
              </a:lnSpc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31474" y="270149"/>
            <a:ext cx="4013649" cy="777136"/>
          </a:xfrm>
        </p:spPr>
        <p:txBody>
          <a:bodyPr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197186" y="1309879"/>
            <a:ext cx="5537932" cy="2981024"/>
          </a:xfr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  <a:latin typeface="+mn-lt"/>
                <a:cs typeface="Futura Hv"/>
              </a:defRPr>
            </a:lvl1pPr>
            <a:lvl2pPr marL="0" indent="0">
              <a:buNone/>
              <a:defRPr>
                <a:latin typeface="+mn-lt"/>
              </a:defRPr>
            </a:lvl2pPr>
            <a:lvl3pPr marL="165600" indent="-165600">
              <a:buFont typeface="Lucida Grande"/>
              <a:buChar char="•"/>
              <a:defRPr sz="1800">
                <a:latin typeface="+mn-lt"/>
              </a:defRPr>
            </a:lvl3pPr>
            <a:lvl4pPr marL="298800" indent="-126000">
              <a:buSzPct val="100000"/>
              <a:buFont typeface="Lucida Grande"/>
              <a:buChar char="–"/>
              <a:defRPr>
                <a:latin typeface="+mn-lt"/>
              </a:defRPr>
            </a:lvl4pPr>
            <a:lvl5pPr marL="410400" indent="-122400">
              <a:buSzPct val="80000"/>
              <a:buFont typeface="Courier New"/>
              <a:buChar char="o"/>
              <a:defRPr>
                <a:latin typeface="+mn-lt"/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0203" y="1309879"/>
            <a:ext cx="2542125" cy="2981024"/>
          </a:xfr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  <a:latin typeface="+mn-lt"/>
                <a:cs typeface="Futura Hv"/>
              </a:defRPr>
            </a:lvl1pPr>
            <a:lvl2pPr marL="0" indent="0">
              <a:buNone/>
              <a:defRPr>
                <a:latin typeface="+mn-lt"/>
                <a:cs typeface="Futura Hv"/>
              </a:defRPr>
            </a:lvl2pPr>
            <a:lvl3pPr marL="165600" indent="-165600">
              <a:buFont typeface="Lucida Grande"/>
              <a:buChar char="•"/>
              <a:defRPr sz="1800">
                <a:latin typeface="+mn-lt"/>
              </a:defRPr>
            </a:lvl3pPr>
            <a:lvl4pPr marL="298800" indent="-126000">
              <a:buSzPct val="100000"/>
              <a:buFont typeface="Lucida Grande"/>
              <a:buChar char="–"/>
              <a:defRPr>
                <a:latin typeface="+mn-lt"/>
              </a:defRPr>
            </a:lvl4pPr>
            <a:lvl5pPr marL="410400" indent="-122400">
              <a:buSzPct val="80000"/>
              <a:buFont typeface="Courier New"/>
              <a:buChar char="o"/>
              <a:defRPr>
                <a:latin typeface="+mn-lt"/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348905" y="4746601"/>
            <a:ext cx="182186" cy="12482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>
            <a:lvl1pPr>
              <a:defRPr lang="en-US" sz="700" smtClean="0">
                <a:solidFill>
                  <a:srgbClr val="C2C2C2"/>
                </a:solidFill>
                <a:latin typeface="Futura Bk"/>
              </a:defRPr>
            </a:lvl1pPr>
          </a:lstStyle>
          <a:p>
            <a:pPr marL="190800" indent="-190800">
              <a:lnSpc>
                <a:spcPts val="1000"/>
              </a:lnSpc>
            </a:pPr>
            <a:fld id="{33088DE5-1DDF-C242-AF39-BA25983D68D6}" type="slidenum">
              <a:rPr/>
              <a:pPr marL="190800" indent="-190800">
                <a:lnSpc>
                  <a:spcPts val="1000"/>
                </a:lnSpc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56752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970999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rgbClr val="000000"/>
                </a:solidFill>
                <a:latin typeface="+mn-lt"/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+mn-lt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710876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847057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505198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73512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oleObject" Target="../embeddings/oleObject2.bin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tags" Target="../tags/tag3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vmlDrawing" Target="../drawings/vmlDrawing2.vml"/><Relationship Id="rId5" Type="http://schemas.openxmlformats.org/officeDocument/2006/relationships/slideLayout" Target="../slideLayouts/slideLayout15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vmlDrawing" Target="../drawings/vmlDrawing3.v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1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5" Type="http://schemas.openxmlformats.org/officeDocument/2006/relationships/oleObject" Target="../embeddings/oleObject3.bin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tags" Target="../tags/tag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tags" Target="../tags/tag5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vmlDrawing" Target="../drawings/vmlDrawing4.v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3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oleObject" Target="../embeddings/oleObject4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0116602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734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Picture 1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062758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0" r:id="rId1"/>
    <p:sldLayoutId id="2147483834" r:id="rId2"/>
    <p:sldLayoutId id="2147483833" r:id="rId3"/>
    <p:sldLayoutId id="2147483837" r:id="rId4"/>
    <p:sldLayoutId id="2147483809" r:id="rId5"/>
    <p:sldLayoutId id="2147483838" r:id="rId6"/>
    <p:sldLayoutId id="2147483823" r:id="rId7"/>
    <p:sldLayoutId id="2147483824" r:id="rId8"/>
    <p:sldLayoutId id="2147483825" r:id="rId9"/>
    <p:sldLayoutId id="2147483895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+mj-lt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+mn-lt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+mn-lt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5807181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776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Picture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062758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0" r:id="rId1"/>
    <p:sldLayoutId id="2147483851" r:id="rId2"/>
    <p:sldLayoutId id="2147483852" r:id="rId3"/>
    <p:sldLayoutId id="2147483853" r:id="rId4"/>
    <p:sldLayoutId id="2147483854" r:id="rId5"/>
    <p:sldLayoutId id="2147483855" r:id="rId6"/>
    <p:sldLayoutId id="2147483856" r:id="rId7"/>
    <p:sldLayoutId id="2147483857" r:id="rId8"/>
    <p:sldLayoutId id="2147483858" r:id="rId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+mj-lt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+mn-lt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+mn-lt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754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Picture 4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774234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3" r:id="rId1"/>
    <p:sldLayoutId id="2147483874" r:id="rId2"/>
    <p:sldLayoutId id="2147483875" r:id="rId3"/>
    <p:sldLayoutId id="2147483876" r:id="rId4"/>
    <p:sldLayoutId id="2147483877" r:id="rId5"/>
    <p:sldLayoutId id="2147483878" r:id="rId6"/>
    <p:sldLayoutId id="2147483879" r:id="rId7"/>
    <p:sldLayoutId id="2147483880" r:id="rId8"/>
    <p:sldLayoutId id="2147483881" r:id="rId9"/>
    <p:sldLayoutId id="2147483882" r:id="rId10"/>
    <p:sldLayoutId id="2147483883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+mj-lt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+mn-lt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+mn-lt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0783056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777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Picture 4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73186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5" r:id="rId1"/>
    <p:sldLayoutId id="2147483886" r:id="rId2"/>
    <p:sldLayoutId id="2147483887" r:id="rId3"/>
    <p:sldLayoutId id="2147483888" r:id="rId4"/>
    <p:sldLayoutId id="2147483889" r:id="rId5"/>
    <p:sldLayoutId id="2147483890" r:id="rId6"/>
    <p:sldLayoutId id="2147483891" r:id="rId7"/>
    <p:sldLayoutId id="2147483892" r:id="rId8"/>
    <p:sldLayoutId id="2147483893" r:id="rId9"/>
    <p:sldLayoutId id="2147483894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+mj-lt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+mj-lt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+mj-lt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+mj-lt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+mj-lt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+mj-lt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0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28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28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28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3368203"/>
            <a:ext cx="9144000" cy="995076"/>
          </a:xfrm>
          <a:prstGeom prst="rect">
            <a:avLst/>
          </a:prstGeom>
          <a:solidFill>
            <a:schemeClr val="tx2">
              <a:alpha val="76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/>
              <a:t>Which Hadoop Distribution to Choose</a:t>
            </a:r>
            <a:endParaRPr lang="en-US" sz="2800" b="1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27015" y="577300"/>
            <a:ext cx="3689970" cy="2901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2456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defTabSz="685783"/>
            <a:r>
              <a:rPr lang="en-US" dirty="0" smtClean="0">
                <a:solidFill>
                  <a:srgbClr val="262626"/>
                </a:solidFill>
              </a:rPr>
              <a:t>Popular</a:t>
            </a:r>
            <a:r>
              <a:rPr lang="en-US" dirty="0" smtClean="0">
                <a:solidFill>
                  <a:srgbClr val="262626"/>
                </a:solidFill>
              </a:rPr>
              <a:t> </a:t>
            </a:r>
            <a:r>
              <a:rPr lang="en-US" dirty="0">
                <a:solidFill>
                  <a:srgbClr val="262626"/>
                </a:solidFill>
              </a:rPr>
              <a:t>Hadoop Distributions - Hortonworks</a:t>
            </a:r>
            <a:endParaRPr lang="en-IN" dirty="0">
              <a:solidFill>
                <a:srgbClr val="262626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81549" y="852270"/>
            <a:ext cx="820011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ounded </a:t>
            </a:r>
            <a:r>
              <a:rPr lang="en-US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 </a:t>
            </a:r>
            <a:r>
              <a:rPr lang="en-US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11, </a:t>
            </a:r>
            <a:r>
              <a:rPr lang="en-US" sz="1400" dirty="0" smtClean="0">
                <a:solidFill>
                  <a:srgbClr val="00B0F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ortonworks</a:t>
            </a:r>
            <a:r>
              <a:rPr lang="en-US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has </a:t>
            </a:r>
            <a:r>
              <a:rPr lang="en-US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quickly emerged as one of the leading vendors of Hadoop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20478" y="1281780"/>
            <a:ext cx="6228488" cy="2892590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3373116" y="4195381"/>
            <a:ext cx="368119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00B0F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ortonworks Data Platform</a:t>
            </a:r>
            <a:endParaRPr lang="en-US" sz="1400" dirty="0">
              <a:solidFill>
                <a:srgbClr val="00B0F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0916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163513" y="96838"/>
            <a:ext cx="7801682" cy="442912"/>
          </a:xfrm>
        </p:spPr>
        <p:txBody>
          <a:bodyPr/>
          <a:lstStyle/>
          <a:p>
            <a:pPr defTabSz="685783"/>
            <a:r>
              <a:rPr lang="en-US" dirty="0" smtClean="0">
                <a:solidFill>
                  <a:srgbClr val="262626"/>
                </a:solidFill>
              </a:rPr>
              <a:t>Hortonworks </a:t>
            </a:r>
            <a:r>
              <a:rPr lang="en-US" dirty="0">
                <a:solidFill>
                  <a:srgbClr val="262626"/>
                </a:solidFill>
              </a:rPr>
              <a:t>Sandbox</a:t>
            </a:r>
            <a:endParaRPr lang="en-IN" dirty="0">
              <a:solidFill>
                <a:srgbClr val="262626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03980" y="818769"/>
            <a:ext cx="820011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00B0F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ortonworks Sandbox</a:t>
            </a:r>
            <a:r>
              <a:rPr lang="en-US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lets you get started with Hortonworks Data Platform (HDP) . You can run Hortonworks </a:t>
            </a:r>
            <a:r>
              <a:rPr lang="en-US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andbox </a:t>
            </a:r>
            <a:r>
              <a:rPr lang="en-US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ither in the cloud or </a:t>
            </a:r>
            <a:r>
              <a:rPr lang="en-US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n your </a:t>
            </a:r>
            <a:r>
              <a:rPr lang="en-US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ersonal machine.</a:t>
            </a:r>
            <a:endParaRPr lang="en-US" sz="1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2454" y="1939252"/>
            <a:ext cx="4268932" cy="185304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11386" y="1918690"/>
            <a:ext cx="4632614" cy="1125682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1657" y="3129498"/>
            <a:ext cx="3457575" cy="466725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4685896" y="3291156"/>
            <a:ext cx="292971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>
                <a:solidFill>
                  <a:srgbClr val="00B0F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ortonworks Sandbox in the Cloud</a:t>
            </a:r>
            <a:endParaRPr lang="en-US" sz="1400" dirty="0">
              <a:solidFill>
                <a:srgbClr val="00B0F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42454" y="3309008"/>
            <a:ext cx="262674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>
                <a:solidFill>
                  <a:srgbClr val="00B0F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ortonworks Sandbox on a VM</a:t>
            </a:r>
            <a:endParaRPr lang="en-US" sz="1400" dirty="0">
              <a:solidFill>
                <a:srgbClr val="00B0F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570487" y="2685774"/>
            <a:ext cx="1733550" cy="247650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42454" y="2881848"/>
            <a:ext cx="1733550" cy="247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8129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163513" y="96838"/>
            <a:ext cx="7801682" cy="442912"/>
          </a:xfrm>
        </p:spPr>
        <p:txBody>
          <a:bodyPr/>
          <a:lstStyle/>
          <a:p>
            <a:pPr defTabSz="685783"/>
            <a:r>
              <a:rPr lang="en-US" dirty="0" smtClean="0">
                <a:solidFill>
                  <a:srgbClr val="262626"/>
                </a:solidFill>
              </a:rPr>
              <a:t>Popular</a:t>
            </a:r>
            <a:r>
              <a:rPr lang="en-US" dirty="0" smtClean="0">
                <a:solidFill>
                  <a:srgbClr val="262626"/>
                </a:solidFill>
              </a:rPr>
              <a:t> </a:t>
            </a:r>
            <a:r>
              <a:rPr lang="en-US" dirty="0">
                <a:solidFill>
                  <a:srgbClr val="262626"/>
                </a:solidFill>
              </a:rPr>
              <a:t>Hadoop Distributions - MapR</a:t>
            </a:r>
            <a:endParaRPr lang="en-IN" dirty="0">
              <a:solidFill>
                <a:srgbClr val="262626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1657" y="3129498"/>
            <a:ext cx="3457575" cy="466725"/>
          </a:xfrm>
          <a:prstGeom prst="rect">
            <a:avLst/>
          </a:prstGeom>
        </p:spPr>
      </p:pic>
      <p:sp>
        <p:nvSpPr>
          <p:cNvPr id="15" name="Rectangle 14"/>
          <p:cNvSpPr/>
          <p:nvPr/>
        </p:nvSpPr>
        <p:spPr>
          <a:xfrm>
            <a:off x="591738" y="730235"/>
            <a:ext cx="84084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mpared to other Hadoop distributions e.g. Cloudera and Hortonworks, MapR takes a different approach as it uses its own proprietary file system </a:t>
            </a:r>
            <a:r>
              <a:rPr lang="en-US" sz="1400" dirty="0" smtClean="0">
                <a:solidFill>
                  <a:srgbClr val="00B0F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apRFS</a:t>
            </a:r>
            <a:endParaRPr lang="en-US" sz="1400" dirty="0">
              <a:solidFill>
                <a:srgbClr val="00B0F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25059" y="1309492"/>
            <a:ext cx="6635817" cy="3018646"/>
          </a:xfrm>
          <a:prstGeom prst="rect">
            <a:avLst/>
          </a:prstGeom>
        </p:spPr>
      </p:pic>
      <p:sp>
        <p:nvSpPr>
          <p:cNvPr id="17" name="TextBox 16"/>
          <p:cNvSpPr txBox="1"/>
          <p:nvPr/>
        </p:nvSpPr>
        <p:spPr>
          <a:xfrm>
            <a:off x="3773017" y="4230286"/>
            <a:ext cx="177471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>
                <a:solidFill>
                  <a:srgbClr val="00B0F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apR Data Platform</a:t>
            </a:r>
            <a:endParaRPr lang="en-US" sz="1400" dirty="0">
              <a:solidFill>
                <a:srgbClr val="00B0F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87747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163513" y="96838"/>
            <a:ext cx="7801682" cy="442912"/>
          </a:xfrm>
        </p:spPr>
        <p:txBody>
          <a:bodyPr/>
          <a:lstStyle/>
          <a:p>
            <a:pPr defTabSz="685783"/>
            <a:r>
              <a:rPr lang="en-US" dirty="0" smtClean="0">
                <a:solidFill>
                  <a:srgbClr val="262626"/>
                </a:solidFill>
              </a:rPr>
              <a:t>MapR </a:t>
            </a:r>
            <a:r>
              <a:rPr lang="en-US" dirty="0">
                <a:solidFill>
                  <a:srgbClr val="262626"/>
                </a:solidFill>
              </a:rPr>
              <a:t>Products</a:t>
            </a:r>
            <a:endParaRPr lang="en-IN" dirty="0">
              <a:solidFill>
                <a:srgbClr val="262626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1657" y="3129498"/>
            <a:ext cx="3457575" cy="466725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8448" y="669494"/>
            <a:ext cx="4996935" cy="3864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3049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4447372" y="4650261"/>
            <a:ext cx="3473450" cy="288925"/>
          </a:xfrm>
        </p:spPr>
        <p:txBody>
          <a:bodyPr/>
          <a:lstStyle/>
          <a:p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Which one to choose ?</a:t>
            </a:r>
            <a:endParaRPr lang="en-US" sz="4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2035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1657" y="3129498"/>
            <a:ext cx="3457575" cy="466725"/>
          </a:xfrm>
          <a:prstGeom prst="rect">
            <a:avLst/>
          </a:prstGeom>
        </p:spPr>
      </p:pic>
      <p:sp>
        <p:nvSpPr>
          <p:cNvPr id="9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161657" y="180761"/>
            <a:ext cx="7801682" cy="442912"/>
          </a:xfrm>
        </p:spPr>
        <p:txBody>
          <a:bodyPr/>
          <a:lstStyle/>
          <a:p>
            <a:pPr defTabSz="685783"/>
            <a:r>
              <a:rPr lang="en-US" dirty="0" smtClean="0">
                <a:solidFill>
                  <a:srgbClr val="262626"/>
                </a:solidFill>
              </a:rPr>
              <a:t>Which one to choose ?</a:t>
            </a:r>
            <a:endParaRPr lang="en-IN" dirty="0">
              <a:solidFill>
                <a:srgbClr val="262626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553568" y="1929043"/>
            <a:ext cx="840842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efore selecting the Hadoop Distribution </a:t>
            </a:r>
            <a:r>
              <a:rPr lang="en-US" dirty="0" smtClean="0">
                <a:solidFill>
                  <a:srgbClr val="00B0F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sk yourself which problems you are trying to solve and what all features you need</a:t>
            </a:r>
            <a:endParaRPr lang="en-US" dirty="0">
              <a:solidFill>
                <a:srgbClr val="00B0F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9535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262626"/>
                </a:solidFill>
              </a:rPr>
              <a:t>Choosing a  Hadoop Distribution</a:t>
            </a:r>
            <a:endParaRPr lang="en-IN" dirty="0">
              <a:solidFill>
                <a:srgbClr val="262626"/>
              </a:solidFill>
            </a:endParaRPr>
          </a:p>
          <a:p>
            <a:endParaRPr lang="en-US" dirty="0"/>
          </a:p>
        </p:txBody>
      </p:sp>
      <p:cxnSp>
        <p:nvCxnSpPr>
          <p:cNvPr id="5" name="Straight Connector 4"/>
          <p:cNvCxnSpPr>
            <a:cxnSpLocks/>
          </p:cNvCxnSpPr>
          <p:nvPr/>
        </p:nvCxnSpPr>
        <p:spPr>
          <a:xfrm>
            <a:off x="0" y="1772493"/>
            <a:ext cx="9144000" cy="0"/>
          </a:xfrm>
          <a:prstGeom prst="line">
            <a:avLst/>
          </a:prstGeom>
          <a:ln w="57150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Group 122"/>
          <p:cNvGrpSpPr/>
          <p:nvPr/>
        </p:nvGrpSpPr>
        <p:grpSpPr>
          <a:xfrm>
            <a:off x="3133235" y="1922793"/>
            <a:ext cx="2790140" cy="1552420"/>
            <a:chOff x="3133235" y="1939392"/>
            <a:chExt cx="2790140" cy="1598793"/>
          </a:xfrm>
        </p:grpSpPr>
        <p:cxnSp>
          <p:nvCxnSpPr>
            <p:cNvPr id="7" name="Straight Connector 6"/>
            <p:cNvCxnSpPr/>
            <p:nvPr/>
          </p:nvCxnSpPr>
          <p:spPr>
            <a:xfrm>
              <a:off x="3133235" y="1939392"/>
              <a:ext cx="0" cy="1598793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/>
            <p:cNvCxnSpPr/>
            <p:nvPr/>
          </p:nvCxnSpPr>
          <p:spPr>
            <a:xfrm>
              <a:off x="5923375" y="1939392"/>
              <a:ext cx="0" cy="1598793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5" name="Rectangle 24"/>
          <p:cNvSpPr/>
          <p:nvPr/>
        </p:nvSpPr>
        <p:spPr>
          <a:xfrm>
            <a:off x="319092" y="1042292"/>
            <a:ext cx="2648247" cy="3652174"/>
          </a:xfrm>
          <a:prstGeom prst="rect">
            <a:avLst/>
          </a:prstGeom>
          <a:solidFill>
            <a:schemeClr val="bg1"/>
          </a:solidFill>
          <a:ln w="34925">
            <a:solidFill>
              <a:schemeClr val="accent1"/>
            </a:solidFill>
          </a:ln>
          <a:effectLst>
            <a:outerShdw blurRad="50800" dist="38100" dir="2700000" sx="102000" sy="102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6" tIns="34294" rIns="68586" bIns="3429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91" fontAlgn="base">
              <a:spcBef>
                <a:spcPct val="0"/>
              </a:spcBef>
              <a:spcAft>
                <a:spcPct val="0"/>
              </a:spcAft>
            </a:pPr>
            <a:endParaRPr lang="en-US" sz="1500" dirty="0" err="1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398033" y="1699708"/>
            <a:ext cx="2485016" cy="2097741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2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f you are looking for complete Hadoop stack with all features, then MapR is the way to go</a:t>
            </a:r>
            <a:r>
              <a:rPr lang="en-US" sz="12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  <a:p>
            <a:r>
              <a:rPr lang="en-US" sz="12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</a:t>
            </a:r>
            <a:endParaRPr lang="en-US" sz="12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en-US" sz="12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ut note that MapR enterprise edition is not free and takes a different approach than Apache Hadoop</a:t>
            </a:r>
          </a:p>
          <a:p>
            <a:endParaRPr lang="en-US" sz="12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91681" y="1219203"/>
            <a:ext cx="1352075" cy="317154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1263" y="1195375"/>
            <a:ext cx="1393046" cy="373301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16161" y="1146980"/>
            <a:ext cx="1372704" cy="507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0846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262626"/>
                </a:solidFill>
              </a:rPr>
              <a:t>Choosing a  Hadoop Distribution</a:t>
            </a:r>
            <a:endParaRPr lang="en-IN" dirty="0">
              <a:solidFill>
                <a:srgbClr val="262626"/>
              </a:solidFill>
            </a:endParaRPr>
          </a:p>
          <a:p>
            <a:endParaRPr lang="en-US" dirty="0"/>
          </a:p>
          <a:p>
            <a:endParaRPr lang="en-US" dirty="0"/>
          </a:p>
        </p:txBody>
      </p:sp>
      <p:cxnSp>
        <p:nvCxnSpPr>
          <p:cNvPr id="5" name="Straight Connector 4"/>
          <p:cNvCxnSpPr>
            <a:cxnSpLocks/>
          </p:cNvCxnSpPr>
          <p:nvPr/>
        </p:nvCxnSpPr>
        <p:spPr>
          <a:xfrm>
            <a:off x="0" y="1772493"/>
            <a:ext cx="9144000" cy="0"/>
          </a:xfrm>
          <a:prstGeom prst="line">
            <a:avLst/>
          </a:prstGeom>
          <a:ln w="57150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/>
          <p:cNvSpPr/>
          <p:nvPr/>
        </p:nvSpPr>
        <p:spPr>
          <a:xfrm>
            <a:off x="319092" y="1042292"/>
            <a:ext cx="2648247" cy="3652174"/>
          </a:xfrm>
          <a:prstGeom prst="rect">
            <a:avLst/>
          </a:prstGeom>
          <a:solidFill>
            <a:schemeClr val="bg1"/>
          </a:solidFill>
          <a:ln w="34925">
            <a:solidFill>
              <a:schemeClr val="accent5"/>
            </a:solidFill>
          </a:ln>
          <a:effectLst>
            <a:outerShdw blurRad="50800" dist="38100" dir="2700000" sx="102000" sy="102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6" tIns="34294" rIns="68586" bIns="3429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91" fontAlgn="base">
              <a:spcBef>
                <a:spcPct val="0"/>
              </a:spcBef>
              <a:spcAft>
                <a:spcPct val="0"/>
              </a:spcAft>
            </a:pPr>
            <a:endParaRPr lang="en-US" sz="1500" dirty="0" err="1">
              <a:solidFill>
                <a:srgbClr val="000000"/>
              </a:solidFill>
              <a:latin typeface="Calibri" pitchFamily="34" charset="0"/>
            </a:endParaRPr>
          </a:p>
        </p:txBody>
      </p:sp>
      <p:grpSp>
        <p:nvGrpSpPr>
          <p:cNvPr id="7" name="Group 122"/>
          <p:cNvGrpSpPr/>
          <p:nvPr/>
        </p:nvGrpSpPr>
        <p:grpSpPr>
          <a:xfrm>
            <a:off x="3133235" y="1922793"/>
            <a:ext cx="2790140" cy="1552420"/>
            <a:chOff x="3133235" y="1939392"/>
            <a:chExt cx="2790140" cy="1598793"/>
          </a:xfrm>
        </p:grpSpPr>
        <p:cxnSp>
          <p:nvCxnSpPr>
            <p:cNvPr id="8" name="Straight Connector 7"/>
            <p:cNvCxnSpPr/>
            <p:nvPr/>
          </p:nvCxnSpPr>
          <p:spPr>
            <a:xfrm>
              <a:off x="3133235" y="1939392"/>
              <a:ext cx="0" cy="1598793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>
              <a:off x="5923375" y="1939392"/>
              <a:ext cx="0" cy="1598793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Rectangle 15"/>
          <p:cNvSpPr/>
          <p:nvPr/>
        </p:nvSpPr>
        <p:spPr>
          <a:xfrm>
            <a:off x="3203932" y="1044083"/>
            <a:ext cx="2648247" cy="3652174"/>
          </a:xfrm>
          <a:prstGeom prst="rect">
            <a:avLst/>
          </a:prstGeom>
          <a:solidFill>
            <a:schemeClr val="bg1"/>
          </a:solidFill>
          <a:ln w="34925">
            <a:solidFill>
              <a:schemeClr val="accent1"/>
            </a:solidFill>
          </a:ln>
          <a:effectLst>
            <a:outerShdw blurRad="50800" dist="38100" dir="2700000" sx="102000" sy="102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6" tIns="34294" rIns="68586" bIns="3429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91" fontAlgn="base">
              <a:spcBef>
                <a:spcPct val="0"/>
              </a:spcBef>
              <a:spcAft>
                <a:spcPct val="0"/>
              </a:spcAft>
            </a:pPr>
            <a:endParaRPr lang="en-US" sz="1500" dirty="0" err="1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398033" y="1699708"/>
            <a:ext cx="2485016" cy="2097741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200" dirty="0" smtClean="0">
                <a:solidFill>
                  <a:srgbClr val="B9B8BB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f </a:t>
            </a:r>
            <a:r>
              <a:rPr lang="en-US" sz="1200" dirty="0">
                <a:solidFill>
                  <a:srgbClr val="B9B8BB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you are looking for complete Hadoop stack with all features, then MapR is the way to go.</a:t>
            </a:r>
          </a:p>
          <a:p>
            <a:r>
              <a:rPr lang="en-US" sz="1200" dirty="0">
                <a:solidFill>
                  <a:srgbClr val="B9B8BB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</a:t>
            </a:r>
          </a:p>
          <a:p>
            <a:r>
              <a:rPr lang="en-US" sz="1200" dirty="0">
                <a:solidFill>
                  <a:srgbClr val="B9B8BB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ut note that MapR enterprise edition is not free and takes a different approach than Apache Hadoop</a:t>
            </a:r>
          </a:p>
          <a:p>
            <a:pPr fontAlgn="base">
              <a:lnSpc>
                <a:spcPct val="90000"/>
              </a:lnSpc>
              <a:spcBef>
                <a:spcPts val="450"/>
              </a:spcBef>
              <a:spcAft>
                <a:spcPct val="0"/>
              </a:spcAft>
            </a:pPr>
            <a:endParaRPr lang="en-US" sz="1200" dirty="0">
              <a:solidFill>
                <a:srgbClr val="B9B8BB"/>
              </a:solidFill>
              <a:latin typeface="Calibri" pitchFamily="34" charset="0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3282877" y="1679986"/>
            <a:ext cx="2485016" cy="2097741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2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loudera </a:t>
            </a:r>
            <a:r>
              <a:rPr lang="en-US" sz="12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s based on 100% open source Apache Hadoop and has added its own proprietary </a:t>
            </a:r>
            <a:r>
              <a:rPr lang="en-US" sz="12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ools</a:t>
            </a:r>
          </a:p>
          <a:p>
            <a:endParaRPr lang="en-US" sz="12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en-US" sz="12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imilar to MapR, Cloudera also provides both free and paid distribution with extra features and support</a:t>
            </a:r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1263" y="1195375"/>
            <a:ext cx="1393046" cy="373301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91681" y="1219203"/>
            <a:ext cx="1352075" cy="317154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16161" y="1146980"/>
            <a:ext cx="1372704" cy="507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8266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262626"/>
                </a:solidFill>
              </a:rPr>
              <a:t>Choosing a  Hadoop Distribution</a:t>
            </a:r>
            <a:endParaRPr lang="en-IN" dirty="0">
              <a:solidFill>
                <a:srgbClr val="262626"/>
              </a:solidFill>
            </a:endParaRP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cxnSp>
        <p:nvCxnSpPr>
          <p:cNvPr id="5" name="Straight Connector 4"/>
          <p:cNvCxnSpPr>
            <a:cxnSpLocks/>
          </p:cNvCxnSpPr>
          <p:nvPr/>
        </p:nvCxnSpPr>
        <p:spPr>
          <a:xfrm>
            <a:off x="0" y="1772493"/>
            <a:ext cx="9144000" cy="0"/>
          </a:xfrm>
          <a:prstGeom prst="line">
            <a:avLst/>
          </a:prstGeom>
          <a:ln w="57150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/>
          <p:cNvSpPr/>
          <p:nvPr/>
        </p:nvSpPr>
        <p:spPr>
          <a:xfrm>
            <a:off x="319092" y="1042292"/>
            <a:ext cx="2648247" cy="3652174"/>
          </a:xfrm>
          <a:prstGeom prst="rect">
            <a:avLst/>
          </a:prstGeom>
          <a:solidFill>
            <a:schemeClr val="bg1"/>
          </a:solidFill>
          <a:ln w="34925">
            <a:solidFill>
              <a:schemeClr val="accent5"/>
            </a:solidFill>
          </a:ln>
          <a:effectLst>
            <a:outerShdw blurRad="50800" dist="38100" dir="2700000" sx="102000" sy="102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6" tIns="34294" rIns="68586" bIns="3429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91" fontAlgn="base">
              <a:spcBef>
                <a:spcPct val="0"/>
              </a:spcBef>
              <a:spcAft>
                <a:spcPct val="0"/>
              </a:spcAft>
            </a:pPr>
            <a:endParaRPr lang="en-US" sz="1500" dirty="0" err="1">
              <a:solidFill>
                <a:srgbClr val="000000"/>
              </a:solidFill>
              <a:latin typeface="Calibri" pitchFamily="34" charset="0"/>
            </a:endParaRPr>
          </a:p>
        </p:txBody>
      </p:sp>
      <p:grpSp>
        <p:nvGrpSpPr>
          <p:cNvPr id="7" name="Group 122"/>
          <p:cNvGrpSpPr/>
          <p:nvPr/>
        </p:nvGrpSpPr>
        <p:grpSpPr>
          <a:xfrm>
            <a:off x="3133235" y="1922793"/>
            <a:ext cx="2790140" cy="1552420"/>
            <a:chOff x="3133235" y="1939392"/>
            <a:chExt cx="2790140" cy="1598793"/>
          </a:xfrm>
        </p:grpSpPr>
        <p:cxnSp>
          <p:nvCxnSpPr>
            <p:cNvPr id="8" name="Straight Connector 7"/>
            <p:cNvCxnSpPr/>
            <p:nvPr/>
          </p:nvCxnSpPr>
          <p:spPr>
            <a:xfrm>
              <a:off x="3133235" y="1939392"/>
              <a:ext cx="0" cy="1598793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>
              <a:off x="5923375" y="1939392"/>
              <a:ext cx="0" cy="1598793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TextBox 9"/>
          <p:cNvSpPr txBox="1"/>
          <p:nvPr/>
        </p:nvSpPr>
        <p:spPr>
          <a:xfrm>
            <a:off x="6781509" y="1200791"/>
            <a:ext cx="1776222" cy="3877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400" b="1" dirty="0" smtClean="0">
                <a:solidFill>
                  <a:srgbClr val="0096D6"/>
                </a:solidFill>
                <a:latin typeface="Calibri" pitchFamily="34" charset="0"/>
              </a:rPr>
              <a:t>Social</a:t>
            </a:r>
          </a:p>
          <a:p>
            <a:pPr>
              <a:lnSpc>
                <a:spcPct val="90000"/>
              </a:lnSpc>
            </a:pPr>
            <a:r>
              <a:rPr lang="en-US" sz="1400" dirty="0" smtClean="0">
                <a:solidFill>
                  <a:srgbClr val="0096D6"/>
                </a:solidFill>
                <a:latin typeface="Calibri" pitchFamily="34" charset="0"/>
              </a:rPr>
              <a:t>xyz</a:t>
            </a:r>
            <a:endParaRPr lang="en-US" sz="1400" dirty="0">
              <a:solidFill>
                <a:srgbClr val="0096D6"/>
              </a:solidFill>
              <a:latin typeface="Calibri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203932" y="1044083"/>
            <a:ext cx="2648247" cy="3652174"/>
          </a:xfrm>
          <a:prstGeom prst="rect">
            <a:avLst/>
          </a:prstGeom>
          <a:solidFill>
            <a:schemeClr val="bg1"/>
          </a:solidFill>
          <a:ln w="34925">
            <a:solidFill>
              <a:schemeClr val="accent5"/>
            </a:solidFill>
          </a:ln>
          <a:effectLst>
            <a:outerShdw blurRad="50800" dist="38100" dir="2700000" sx="102000" sy="102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6" tIns="34294" rIns="68586" bIns="3429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91" fontAlgn="base">
              <a:spcBef>
                <a:spcPct val="0"/>
              </a:spcBef>
              <a:spcAft>
                <a:spcPct val="0"/>
              </a:spcAft>
            </a:pPr>
            <a:endParaRPr lang="en-US" sz="1500" dirty="0" err="1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21" name="Rectangle 20"/>
          <p:cNvSpPr>
            <a:spLocks/>
          </p:cNvSpPr>
          <p:nvPr/>
        </p:nvSpPr>
        <p:spPr>
          <a:xfrm>
            <a:off x="3241589" y="3633501"/>
            <a:ext cx="2573432" cy="692498"/>
          </a:xfrm>
          <a:prstGeom prst="rect">
            <a:avLst/>
          </a:prstGeom>
          <a:noFill/>
          <a:ln w="19050" cap="rnd"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marL="85679">
              <a:spcBef>
                <a:spcPts val="150"/>
              </a:spcBef>
              <a:spcAft>
                <a:spcPts val="150"/>
              </a:spcAft>
              <a:buClr>
                <a:srgbClr val="FFFFFF">
                  <a:lumMod val="50000"/>
                </a:srgbClr>
              </a:buClr>
            </a:pPr>
            <a:r>
              <a:rPr lang="en-US" sz="1400" b="1" dirty="0" smtClean="0">
                <a:solidFill>
                  <a:prstClr val="white"/>
                </a:solidFill>
                <a:latin typeface="Calibri" pitchFamily="34" charset="0"/>
              </a:rPr>
              <a:t>Key point in Economical</a:t>
            </a:r>
            <a:endParaRPr lang="en-US" sz="1400" b="1" dirty="0">
              <a:solidFill>
                <a:prstClr val="white"/>
              </a:solidFill>
              <a:latin typeface="Calibri" pitchFamily="34" charset="0"/>
            </a:endParaRPr>
          </a:p>
        </p:txBody>
      </p:sp>
      <p:sp>
        <p:nvSpPr>
          <p:cNvPr id="22" name="Rectangle 21"/>
          <p:cNvSpPr>
            <a:spLocks/>
          </p:cNvSpPr>
          <p:nvPr/>
        </p:nvSpPr>
        <p:spPr>
          <a:xfrm>
            <a:off x="6031730" y="3633501"/>
            <a:ext cx="2573432" cy="692498"/>
          </a:xfrm>
          <a:prstGeom prst="rect">
            <a:avLst/>
          </a:prstGeom>
          <a:noFill/>
          <a:ln w="19050" cap="rnd"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marL="85679">
              <a:spcBef>
                <a:spcPts val="150"/>
              </a:spcBef>
              <a:spcAft>
                <a:spcPts val="150"/>
              </a:spcAft>
              <a:buClr>
                <a:srgbClr val="FFFFFF">
                  <a:lumMod val="50000"/>
                </a:srgbClr>
              </a:buClr>
            </a:pPr>
            <a:r>
              <a:rPr lang="en-US" sz="1400" b="1" dirty="0" smtClean="0">
                <a:solidFill>
                  <a:prstClr val="white"/>
                </a:solidFill>
                <a:latin typeface="Calibri" pitchFamily="34" charset="0"/>
              </a:rPr>
              <a:t>Key point in Social</a:t>
            </a:r>
            <a:endParaRPr lang="en-US" sz="1400" b="1" dirty="0">
              <a:solidFill>
                <a:prstClr val="white"/>
              </a:solidFill>
              <a:latin typeface="Calibri" pitchFamily="34" charset="0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6125843" y="1045876"/>
            <a:ext cx="2648247" cy="3652174"/>
          </a:xfrm>
          <a:prstGeom prst="rect">
            <a:avLst/>
          </a:prstGeom>
          <a:solidFill>
            <a:schemeClr val="bg1"/>
          </a:solidFill>
          <a:ln w="34925">
            <a:solidFill>
              <a:schemeClr val="accent1"/>
            </a:solidFill>
          </a:ln>
          <a:effectLst>
            <a:outerShdw blurRad="50800" dist="38100" dir="2700000" sx="102000" sy="102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6" tIns="34294" rIns="68586" bIns="3429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91" fontAlgn="base">
              <a:spcBef>
                <a:spcPct val="0"/>
              </a:spcBef>
              <a:spcAft>
                <a:spcPct val="0"/>
              </a:spcAft>
            </a:pPr>
            <a:endParaRPr lang="en-US" sz="1500" dirty="0" err="1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398033" y="1699708"/>
            <a:ext cx="2485016" cy="2097741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200" dirty="0">
                <a:solidFill>
                  <a:srgbClr val="B9B8BB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f you are looking for complete Hadoop stack with all features, then MapR is the way to go.</a:t>
            </a:r>
          </a:p>
          <a:p>
            <a:r>
              <a:rPr lang="en-US" sz="1200" dirty="0">
                <a:solidFill>
                  <a:srgbClr val="B9B8BB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</a:t>
            </a:r>
          </a:p>
          <a:p>
            <a:r>
              <a:rPr lang="en-US" sz="1200" dirty="0">
                <a:solidFill>
                  <a:srgbClr val="B9B8BB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ut note that MapR enterprise edition is not free and takes a different approach than Apache Hadoop</a:t>
            </a:r>
          </a:p>
        </p:txBody>
      </p:sp>
      <p:sp>
        <p:nvSpPr>
          <p:cNvPr id="27" name="Rectangle 26"/>
          <p:cNvSpPr/>
          <p:nvPr/>
        </p:nvSpPr>
        <p:spPr>
          <a:xfrm>
            <a:off x="3282877" y="1679986"/>
            <a:ext cx="2485016" cy="2097741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200" dirty="0">
                <a:solidFill>
                  <a:srgbClr val="B9B8BB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loudera is based </a:t>
            </a:r>
            <a:r>
              <a:rPr lang="en-US" sz="1200" dirty="0" smtClean="0">
                <a:solidFill>
                  <a:srgbClr val="B9B8BB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n open </a:t>
            </a:r>
            <a:r>
              <a:rPr lang="en-US" sz="1200" dirty="0">
                <a:solidFill>
                  <a:srgbClr val="B9B8BB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ource Apache Hadoop </a:t>
            </a:r>
            <a:r>
              <a:rPr lang="en-US" sz="1200" dirty="0" smtClean="0">
                <a:solidFill>
                  <a:srgbClr val="B9B8BB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ut has </a:t>
            </a:r>
            <a:r>
              <a:rPr lang="en-US" sz="1200" dirty="0">
                <a:solidFill>
                  <a:srgbClr val="B9B8BB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dded its own proprietary </a:t>
            </a:r>
            <a:r>
              <a:rPr lang="en-US" sz="1200" dirty="0" smtClean="0">
                <a:solidFill>
                  <a:srgbClr val="B9B8BB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ools.</a:t>
            </a:r>
            <a:endParaRPr lang="en-US" sz="1200" dirty="0">
              <a:solidFill>
                <a:srgbClr val="B9B8BB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endParaRPr lang="en-US" sz="1200" dirty="0">
              <a:solidFill>
                <a:srgbClr val="B9B8BB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en-US" sz="1200" dirty="0">
                <a:solidFill>
                  <a:srgbClr val="B9B8BB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imilar to MapR, Cloudera also provides both free and paid distribution with extra features and support</a:t>
            </a:r>
          </a:p>
        </p:txBody>
      </p:sp>
      <p:sp>
        <p:nvSpPr>
          <p:cNvPr id="28" name="Rectangle 27"/>
          <p:cNvSpPr/>
          <p:nvPr/>
        </p:nvSpPr>
        <p:spPr>
          <a:xfrm>
            <a:off x="6199736" y="1683526"/>
            <a:ext cx="2499539" cy="2097741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2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ortonworks is the only commercial vendor to provide complete open source Hadoop. </a:t>
            </a:r>
            <a:endParaRPr lang="en-US" sz="1200" dirty="0" smtClean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endParaRPr lang="en-US" sz="12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en-US" sz="12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ortonworks intentionally not developed proprietary software and uses open source softwares e.g. Ambari, Stinger and Solr</a:t>
            </a:r>
          </a:p>
          <a:p>
            <a:pPr indent="-127405" fontAlgn="base">
              <a:lnSpc>
                <a:spcPct val="90000"/>
              </a:lnSpc>
              <a:spcBef>
                <a:spcPts val="450"/>
              </a:spcBef>
              <a:spcAft>
                <a:spcPct val="0"/>
              </a:spcAft>
              <a:buFont typeface="Arial" pitchFamily="34" charset="0"/>
              <a:buChar char="•"/>
            </a:pPr>
            <a:endParaRPr lang="en-US" sz="1200" dirty="0" smtClean="0">
              <a:solidFill>
                <a:schemeClr val="tx1"/>
              </a:solidFill>
              <a:latin typeface="Calibri" pitchFamily="34" charset="0"/>
            </a:endParaRPr>
          </a:p>
          <a:p>
            <a:pPr indent="-171450" fontAlgn="base">
              <a:lnSpc>
                <a:spcPct val="90000"/>
              </a:lnSpc>
              <a:spcBef>
                <a:spcPts val="450"/>
              </a:spcBef>
              <a:spcAft>
                <a:spcPct val="0"/>
              </a:spcAft>
              <a:buFont typeface="Arial" pitchFamily="34" charset="0"/>
              <a:buChar char="•"/>
            </a:pPr>
            <a:endParaRPr lang="en-US" sz="1200" dirty="0" smtClean="0">
              <a:solidFill>
                <a:schemeClr val="tx1"/>
              </a:solidFill>
              <a:latin typeface="Calibri" pitchFamily="34" charset="0"/>
            </a:endParaRPr>
          </a:p>
        </p:txBody>
      </p:sp>
      <p:pic>
        <p:nvPicPr>
          <p:cNvPr id="29" name="Picture 2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1263" y="1195375"/>
            <a:ext cx="1393046" cy="373301"/>
          </a:xfrm>
          <a:prstGeom prst="rect">
            <a:avLst/>
          </a:prstGeom>
        </p:spPr>
      </p:pic>
      <p:pic>
        <p:nvPicPr>
          <p:cNvPr id="30" name="Picture 29"/>
          <p:cNvPicPr>
            <a:picLocks noChangeAspect="1"/>
          </p:cNvPicPr>
          <p:nvPr/>
        </p:nvPicPr>
        <p:blipFill>
          <a:blip r:embed="rId3">
            <a:duotone>
              <a:schemeClr val="accent4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3691681" y="1219203"/>
            <a:ext cx="1352075" cy="317154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16161" y="1146980"/>
            <a:ext cx="1372704" cy="507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5559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163513" y="96838"/>
            <a:ext cx="7801682" cy="442912"/>
          </a:xfrm>
        </p:spPr>
        <p:txBody>
          <a:bodyPr/>
          <a:lstStyle/>
          <a:p>
            <a:pPr defTabSz="685783"/>
            <a:r>
              <a:rPr lang="en-US" dirty="0" smtClean="0">
                <a:solidFill>
                  <a:srgbClr val="262626"/>
                </a:solidFill>
              </a:rPr>
              <a:t>Why not try them all ?</a:t>
            </a:r>
            <a:endParaRPr lang="en-IN" dirty="0">
              <a:solidFill>
                <a:srgbClr val="262626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580919" y="2052155"/>
            <a:ext cx="84084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 smtClean="0">
                <a:solidFill>
                  <a:srgbClr val="00B0F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ll Hadoop Distribution vendors provide free (community edition) version, its not a bad idea to try them all and get an idea how each one of them is different from others </a:t>
            </a:r>
            <a:endParaRPr lang="en-US" sz="1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6567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What will you learn today?</a:t>
            </a:r>
            <a:endParaRPr lang="en-US" dirty="0"/>
          </a:p>
        </p:txBody>
      </p:sp>
      <p:sp>
        <p:nvSpPr>
          <p:cNvPr id="5" name="Oval 4"/>
          <p:cNvSpPr/>
          <p:nvPr/>
        </p:nvSpPr>
        <p:spPr>
          <a:xfrm>
            <a:off x="6400800" y="1381016"/>
            <a:ext cx="2458192" cy="2459736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247" descr="C:\Users\lopezga\Documents\a-FY14\Icons 2014\Web-Communications_Icons\Group_project\Group_project_RGB\Group_project_RGB_white_NT.png"/>
          <p:cNvPicPr preferRelativeResize="0"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1840" y="1480103"/>
            <a:ext cx="439521" cy="441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38" descr="C:\Users\lopezga\Documents\a-FY14\Icons 2014\Web-Communications_Icons\Alliances\Alliances_RGB\Alliances_RGB_white_NT.png"/>
          <p:cNvPicPr preferRelativeResize="0"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736" y="2350516"/>
            <a:ext cx="512774" cy="514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31" descr="C:\Users\lopezga\Documents\a-FY14\Icons 2014\Web-Communications_Icons\Support\Support_RGB\Support_RGB_white_NT.png"/>
          <p:cNvPicPr preferRelativeResize="0">
            <a:picLocks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3041" y="2350515"/>
            <a:ext cx="512774" cy="514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23" descr="C:\Users\lopezga\Documents\a-FY14\Icons 2014\Web-Communications_Icons\Professional_development\Professional_development_RGB\Professional_development_RGB_white_NT.png"/>
          <p:cNvPicPr preferRelativeResize="0">
            <a:picLocks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1840" y="3178892"/>
            <a:ext cx="512774" cy="514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" name="Group 101"/>
          <p:cNvGrpSpPr>
            <a:grpSpLocks/>
          </p:cNvGrpSpPr>
          <p:nvPr/>
        </p:nvGrpSpPr>
        <p:grpSpPr>
          <a:xfrm>
            <a:off x="7355576" y="2234894"/>
            <a:ext cx="612648" cy="603504"/>
            <a:chOff x="2644022" y="3804641"/>
            <a:chExt cx="258802" cy="373251"/>
          </a:xfrm>
          <a:solidFill>
            <a:schemeClr val="bg1"/>
          </a:solidFill>
        </p:grpSpPr>
        <p:grpSp>
          <p:nvGrpSpPr>
            <p:cNvPr id="11" name="Group 10"/>
            <p:cNvGrpSpPr/>
            <p:nvPr/>
          </p:nvGrpSpPr>
          <p:grpSpPr>
            <a:xfrm>
              <a:off x="2661909" y="3804641"/>
              <a:ext cx="221532" cy="337923"/>
              <a:chOff x="4992029" y="402340"/>
              <a:chExt cx="825588" cy="1259346"/>
            </a:xfrm>
            <a:grpFill/>
          </p:grpSpPr>
          <p:sp>
            <p:nvSpPr>
              <p:cNvPr id="13" name="Freeform 12"/>
              <p:cNvSpPr/>
              <p:nvPr/>
            </p:nvSpPr>
            <p:spPr>
              <a:xfrm flipH="1">
                <a:off x="4992029" y="402340"/>
                <a:ext cx="825588" cy="1259346"/>
              </a:xfrm>
              <a:custGeom>
                <a:avLst/>
                <a:gdLst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2466498"/>
                  <a:gd name="connsiteY0" fmla="*/ 0 h 3274695"/>
                  <a:gd name="connsiteX1" fmla="*/ 1537335 w 2466498"/>
                  <a:gd name="connsiteY1" fmla="*/ 0 h 3274695"/>
                  <a:gd name="connsiteX2" fmla="*/ 1748790 w 2466498"/>
                  <a:gd name="connsiteY2" fmla="*/ 234315 h 3274695"/>
                  <a:gd name="connsiteX3" fmla="*/ 2466498 w 2466498"/>
                  <a:gd name="connsiteY3" fmla="*/ 768806 h 3274695"/>
                  <a:gd name="connsiteX4" fmla="*/ 1497330 w 2466498"/>
                  <a:gd name="connsiteY4" fmla="*/ 1583055 h 3274695"/>
                  <a:gd name="connsiteX5" fmla="*/ 1508760 w 2466498"/>
                  <a:gd name="connsiteY5" fmla="*/ 480060 h 3274695"/>
                  <a:gd name="connsiteX6" fmla="*/ 1388745 w 2466498"/>
                  <a:gd name="connsiteY6" fmla="*/ 417195 h 3274695"/>
                  <a:gd name="connsiteX7" fmla="*/ 1383030 w 2466498"/>
                  <a:gd name="connsiteY7" fmla="*/ 1703070 h 3274695"/>
                  <a:gd name="connsiteX8" fmla="*/ 1217295 w 2466498"/>
                  <a:gd name="connsiteY8" fmla="*/ 3188970 h 3274695"/>
                  <a:gd name="connsiteX9" fmla="*/ 1120140 w 2466498"/>
                  <a:gd name="connsiteY9" fmla="*/ 3274695 h 3274695"/>
                  <a:gd name="connsiteX10" fmla="*/ 617220 w 2466498"/>
                  <a:gd name="connsiteY10" fmla="*/ 3274695 h 3274695"/>
                  <a:gd name="connsiteX11" fmla="*/ 520065 w 2466498"/>
                  <a:gd name="connsiteY11" fmla="*/ 3143250 h 3274695"/>
                  <a:gd name="connsiteX12" fmla="*/ 371475 w 2466498"/>
                  <a:gd name="connsiteY12" fmla="*/ 1651635 h 3274695"/>
                  <a:gd name="connsiteX13" fmla="*/ 365760 w 2466498"/>
                  <a:gd name="connsiteY13" fmla="*/ 417195 h 3274695"/>
                  <a:gd name="connsiteX14" fmla="*/ 251460 w 2466498"/>
                  <a:gd name="connsiteY14" fmla="*/ 491490 h 3274695"/>
                  <a:gd name="connsiteX15" fmla="*/ 251460 w 2466498"/>
                  <a:gd name="connsiteY15" fmla="*/ 1571625 h 3274695"/>
                  <a:gd name="connsiteX16" fmla="*/ 0 w 2466498"/>
                  <a:gd name="connsiteY16" fmla="*/ 1560195 h 3274695"/>
                  <a:gd name="connsiteX17" fmla="*/ 0 w 2466498"/>
                  <a:gd name="connsiteY17" fmla="*/ 257175 h 3274695"/>
                  <a:gd name="connsiteX18" fmla="*/ 200025 w 2466498"/>
                  <a:gd name="connsiteY18" fmla="*/ 0 h 3274695"/>
                  <a:gd name="connsiteX0" fmla="*/ 200025 w 2473166"/>
                  <a:gd name="connsiteY0" fmla="*/ 0 h 3274695"/>
                  <a:gd name="connsiteX1" fmla="*/ 1537335 w 2473166"/>
                  <a:gd name="connsiteY1" fmla="*/ 0 h 3274695"/>
                  <a:gd name="connsiteX2" fmla="*/ 2466498 w 2473166"/>
                  <a:gd name="connsiteY2" fmla="*/ 768806 h 3274695"/>
                  <a:gd name="connsiteX3" fmla="*/ 1497330 w 2473166"/>
                  <a:gd name="connsiteY3" fmla="*/ 1583055 h 3274695"/>
                  <a:gd name="connsiteX4" fmla="*/ 1508760 w 2473166"/>
                  <a:gd name="connsiteY4" fmla="*/ 480060 h 3274695"/>
                  <a:gd name="connsiteX5" fmla="*/ 1388745 w 2473166"/>
                  <a:gd name="connsiteY5" fmla="*/ 417195 h 3274695"/>
                  <a:gd name="connsiteX6" fmla="*/ 1383030 w 2473166"/>
                  <a:gd name="connsiteY6" fmla="*/ 1703070 h 3274695"/>
                  <a:gd name="connsiteX7" fmla="*/ 1217295 w 2473166"/>
                  <a:gd name="connsiteY7" fmla="*/ 3188970 h 3274695"/>
                  <a:gd name="connsiteX8" fmla="*/ 1120140 w 2473166"/>
                  <a:gd name="connsiteY8" fmla="*/ 3274695 h 3274695"/>
                  <a:gd name="connsiteX9" fmla="*/ 617220 w 2473166"/>
                  <a:gd name="connsiteY9" fmla="*/ 3274695 h 3274695"/>
                  <a:gd name="connsiteX10" fmla="*/ 520065 w 2473166"/>
                  <a:gd name="connsiteY10" fmla="*/ 3143250 h 3274695"/>
                  <a:gd name="connsiteX11" fmla="*/ 371475 w 2473166"/>
                  <a:gd name="connsiteY11" fmla="*/ 1651635 h 3274695"/>
                  <a:gd name="connsiteX12" fmla="*/ 365760 w 2473166"/>
                  <a:gd name="connsiteY12" fmla="*/ 417195 h 3274695"/>
                  <a:gd name="connsiteX13" fmla="*/ 251460 w 2473166"/>
                  <a:gd name="connsiteY13" fmla="*/ 491490 h 3274695"/>
                  <a:gd name="connsiteX14" fmla="*/ 251460 w 2473166"/>
                  <a:gd name="connsiteY14" fmla="*/ 1571625 h 3274695"/>
                  <a:gd name="connsiteX15" fmla="*/ 0 w 2473166"/>
                  <a:gd name="connsiteY15" fmla="*/ 1560195 h 3274695"/>
                  <a:gd name="connsiteX16" fmla="*/ 0 w 2473166"/>
                  <a:gd name="connsiteY16" fmla="*/ 257175 h 3274695"/>
                  <a:gd name="connsiteX17" fmla="*/ 200025 w 2473166"/>
                  <a:gd name="connsiteY17" fmla="*/ 0 h 3274695"/>
                  <a:gd name="connsiteX0" fmla="*/ 200025 w 2473166"/>
                  <a:gd name="connsiteY0" fmla="*/ 0 h 3274695"/>
                  <a:gd name="connsiteX1" fmla="*/ 1537335 w 2473166"/>
                  <a:gd name="connsiteY1" fmla="*/ 0 h 3274695"/>
                  <a:gd name="connsiteX2" fmla="*/ 2466498 w 2473166"/>
                  <a:gd name="connsiteY2" fmla="*/ 768806 h 3274695"/>
                  <a:gd name="connsiteX3" fmla="*/ 2167822 w 2473166"/>
                  <a:gd name="connsiteY3" fmla="*/ 1071367 h 3274695"/>
                  <a:gd name="connsiteX4" fmla="*/ 1508760 w 2473166"/>
                  <a:gd name="connsiteY4" fmla="*/ 480060 h 3274695"/>
                  <a:gd name="connsiteX5" fmla="*/ 1388745 w 2473166"/>
                  <a:gd name="connsiteY5" fmla="*/ 417195 h 3274695"/>
                  <a:gd name="connsiteX6" fmla="*/ 1383030 w 2473166"/>
                  <a:gd name="connsiteY6" fmla="*/ 1703070 h 3274695"/>
                  <a:gd name="connsiteX7" fmla="*/ 1217295 w 2473166"/>
                  <a:gd name="connsiteY7" fmla="*/ 3188970 h 3274695"/>
                  <a:gd name="connsiteX8" fmla="*/ 1120140 w 2473166"/>
                  <a:gd name="connsiteY8" fmla="*/ 3274695 h 3274695"/>
                  <a:gd name="connsiteX9" fmla="*/ 617220 w 2473166"/>
                  <a:gd name="connsiteY9" fmla="*/ 3274695 h 3274695"/>
                  <a:gd name="connsiteX10" fmla="*/ 520065 w 2473166"/>
                  <a:gd name="connsiteY10" fmla="*/ 3143250 h 3274695"/>
                  <a:gd name="connsiteX11" fmla="*/ 371475 w 2473166"/>
                  <a:gd name="connsiteY11" fmla="*/ 1651635 h 3274695"/>
                  <a:gd name="connsiteX12" fmla="*/ 365760 w 2473166"/>
                  <a:gd name="connsiteY12" fmla="*/ 417195 h 3274695"/>
                  <a:gd name="connsiteX13" fmla="*/ 251460 w 2473166"/>
                  <a:gd name="connsiteY13" fmla="*/ 491490 h 3274695"/>
                  <a:gd name="connsiteX14" fmla="*/ 251460 w 2473166"/>
                  <a:gd name="connsiteY14" fmla="*/ 1571625 h 3274695"/>
                  <a:gd name="connsiteX15" fmla="*/ 0 w 2473166"/>
                  <a:gd name="connsiteY15" fmla="*/ 1560195 h 3274695"/>
                  <a:gd name="connsiteX16" fmla="*/ 0 w 2473166"/>
                  <a:gd name="connsiteY16" fmla="*/ 257175 h 3274695"/>
                  <a:gd name="connsiteX17" fmla="*/ 200025 w 2473166"/>
                  <a:gd name="connsiteY17" fmla="*/ 0 h 3274695"/>
                  <a:gd name="connsiteX0" fmla="*/ 200025 w 2473166"/>
                  <a:gd name="connsiteY0" fmla="*/ 0 h 3274695"/>
                  <a:gd name="connsiteX1" fmla="*/ 1537335 w 2473166"/>
                  <a:gd name="connsiteY1" fmla="*/ 0 h 3274695"/>
                  <a:gd name="connsiteX2" fmla="*/ 2466498 w 2473166"/>
                  <a:gd name="connsiteY2" fmla="*/ 768806 h 3274695"/>
                  <a:gd name="connsiteX3" fmla="*/ 2167822 w 2473166"/>
                  <a:gd name="connsiteY3" fmla="*/ 1071367 h 3274695"/>
                  <a:gd name="connsiteX4" fmla="*/ 1508760 w 2473166"/>
                  <a:gd name="connsiteY4" fmla="*/ 480060 h 3274695"/>
                  <a:gd name="connsiteX5" fmla="*/ 1388745 w 2473166"/>
                  <a:gd name="connsiteY5" fmla="*/ 417195 h 3274695"/>
                  <a:gd name="connsiteX6" fmla="*/ 1383030 w 2473166"/>
                  <a:gd name="connsiteY6" fmla="*/ 1703070 h 3274695"/>
                  <a:gd name="connsiteX7" fmla="*/ 1217295 w 2473166"/>
                  <a:gd name="connsiteY7" fmla="*/ 3188970 h 3274695"/>
                  <a:gd name="connsiteX8" fmla="*/ 1120140 w 2473166"/>
                  <a:gd name="connsiteY8" fmla="*/ 3274695 h 3274695"/>
                  <a:gd name="connsiteX9" fmla="*/ 617220 w 2473166"/>
                  <a:gd name="connsiteY9" fmla="*/ 3274695 h 3274695"/>
                  <a:gd name="connsiteX10" fmla="*/ 520065 w 2473166"/>
                  <a:gd name="connsiteY10" fmla="*/ 3143250 h 3274695"/>
                  <a:gd name="connsiteX11" fmla="*/ 371475 w 2473166"/>
                  <a:gd name="connsiteY11" fmla="*/ 1651635 h 3274695"/>
                  <a:gd name="connsiteX12" fmla="*/ 365760 w 2473166"/>
                  <a:gd name="connsiteY12" fmla="*/ 417195 h 3274695"/>
                  <a:gd name="connsiteX13" fmla="*/ 251460 w 2473166"/>
                  <a:gd name="connsiteY13" fmla="*/ 491490 h 3274695"/>
                  <a:gd name="connsiteX14" fmla="*/ 251460 w 2473166"/>
                  <a:gd name="connsiteY14" fmla="*/ 1571625 h 3274695"/>
                  <a:gd name="connsiteX15" fmla="*/ 0 w 2473166"/>
                  <a:gd name="connsiteY15" fmla="*/ 1560195 h 3274695"/>
                  <a:gd name="connsiteX16" fmla="*/ 0 w 2473166"/>
                  <a:gd name="connsiteY16" fmla="*/ 257175 h 3274695"/>
                  <a:gd name="connsiteX17" fmla="*/ 200025 w 2473166"/>
                  <a:gd name="connsiteY17" fmla="*/ 0 h 3274695"/>
                  <a:gd name="connsiteX0" fmla="*/ 200025 w 2466498"/>
                  <a:gd name="connsiteY0" fmla="*/ 0 h 3274695"/>
                  <a:gd name="connsiteX1" fmla="*/ 1537335 w 2466498"/>
                  <a:gd name="connsiteY1" fmla="*/ 0 h 3274695"/>
                  <a:gd name="connsiteX2" fmla="*/ 2466498 w 2466498"/>
                  <a:gd name="connsiteY2" fmla="*/ 768806 h 3274695"/>
                  <a:gd name="connsiteX3" fmla="*/ 2167822 w 2466498"/>
                  <a:gd name="connsiteY3" fmla="*/ 1071367 h 3274695"/>
                  <a:gd name="connsiteX4" fmla="*/ 1508760 w 2466498"/>
                  <a:gd name="connsiteY4" fmla="*/ 480060 h 3274695"/>
                  <a:gd name="connsiteX5" fmla="*/ 1388745 w 2466498"/>
                  <a:gd name="connsiteY5" fmla="*/ 417195 h 3274695"/>
                  <a:gd name="connsiteX6" fmla="*/ 1383030 w 2466498"/>
                  <a:gd name="connsiteY6" fmla="*/ 1703070 h 3274695"/>
                  <a:gd name="connsiteX7" fmla="*/ 1217295 w 2466498"/>
                  <a:gd name="connsiteY7" fmla="*/ 3188970 h 3274695"/>
                  <a:gd name="connsiteX8" fmla="*/ 1120140 w 2466498"/>
                  <a:gd name="connsiteY8" fmla="*/ 3274695 h 3274695"/>
                  <a:gd name="connsiteX9" fmla="*/ 617220 w 2466498"/>
                  <a:gd name="connsiteY9" fmla="*/ 3274695 h 3274695"/>
                  <a:gd name="connsiteX10" fmla="*/ 520065 w 2466498"/>
                  <a:gd name="connsiteY10" fmla="*/ 3143250 h 3274695"/>
                  <a:gd name="connsiteX11" fmla="*/ 371475 w 2466498"/>
                  <a:gd name="connsiteY11" fmla="*/ 1651635 h 3274695"/>
                  <a:gd name="connsiteX12" fmla="*/ 365760 w 2466498"/>
                  <a:gd name="connsiteY12" fmla="*/ 417195 h 3274695"/>
                  <a:gd name="connsiteX13" fmla="*/ 251460 w 2466498"/>
                  <a:gd name="connsiteY13" fmla="*/ 491490 h 3274695"/>
                  <a:gd name="connsiteX14" fmla="*/ 251460 w 2466498"/>
                  <a:gd name="connsiteY14" fmla="*/ 1571625 h 3274695"/>
                  <a:gd name="connsiteX15" fmla="*/ 0 w 2466498"/>
                  <a:gd name="connsiteY15" fmla="*/ 1560195 h 3274695"/>
                  <a:gd name="connsiteX16" fmla="*/ 0 w 2466498"/>
                  <a:gd name="connsiteY16" fmla="*/ 257175 h 3274695"/>
                  <a:gd name="connsiteX17" fmla="*/ 200025 w 2466498"/>
                  <a:gd name="connsiteY17" fmla="*/ 0 h 3274695"/>
                  <a:gd name="connsiteX0" fmla="*/ 200025 w 2387098"/>
                  <a:gd name="connsiteY0" fmla="*/ 0 h 3274695"/>
                  <a:gd name="connsiteX1" fmla="*/ 1537335 w 2387098"/>
                  <a:gd name="connsiteY1" fmla="*/ 0 h 3274695"/>
                  <a:gd name="connsiteX2" fmla="*/ 2387098 w 2387098"/>
                  <a:gd name="connsiteY2" fmla="*/ 918782 h 3274695"/>
                  <a:gd name="connsiteX3" fmla="*/ 2167822 w 2387098"/>
                  <a:gd name="connsiteY3" fmla="*/ 1071367 h 3274695"/>
                  <a:gd name="connsiteX4" fmla="*/ 1508760 w 2387098"/>
                  <a:gd name="connsiteY4" fmla="*/ 480060 h 3274695"/>
                  <a:gd name="connsiteX5" fmla="*/ 1388745 w 2387098"/>
                  <a:gd name="connsiteY5" fmla="*/ 417195 h 3274695"/>
                  <a:gd name="connsiteX6" fmla="*/ 1383030 w 2387098"/>
                  <a:gd name="connsiteY6" fmla="*/ 1703070 h 3274695"/>
                  <a:gd name="connsiteX7" fmla="*/ 1217295 w 2387098"/>
                  <a:gd name="connsiteY7" fmla="*/ 3188970 h 3274695"/>
                  <a:gd name="connsiteX8" fmla="*/ 1120140 w 2387098"/>
                  <a:gd name="connsiteY8" fmla="*/ 3274695 h 3274695"/>
                  <a:gd name="connsiteX9" fmla="*/ 617220 w 2387098"/>
                  <a:gd name="connsiteY9" fmla="*/ 3274695 h 3274695"/>
                  <a:gd name="connsiteX10" fmla="*/ 520065 w 2387098"/>
                  <a:gd name="connsiteY10" fmla="*/ 3143250 h 3274695"/>
                  <a:gd name="connsiteX11" fmla="*/ 371475 w 2387098"/>
                  <a:gd name="connsiteY11" fmla="*/ 1651635 h 3274695"/>
                  <a:gd name="connsiteX12" fmla="*/ 365760 w 2387098"/>
                  <a:gd name="connsiteY12" fmla="*/ 417195 h 3274695"/>
                  <a:gd name="connsiteX13" fmla="*/ 251460 w 2387098"/>
                  <a:gd name="connsiteY13" fmla="*/ 491490 h 3274695"/>
                  <a:gd name="connsiteX14" fmla="*/ 251460 w 2387098"/>
                  <a:gd name="connsiteY14" fmla="*/ 1571625 h 3274695"/>
                  <a:gd name="connsiteX15" fmla="*/ 0 w 2387098"/>
                  <a:gd name="connsiteY15" fmla="*/ 1560195 h 3274695"/>
                  <a:gd name="connsiteX16" fmla="*/ 0 w 2387098"/>
                  <a:gd name="connsiteY16" fmla="*/ 257175 h 3274695"/>
                  <a:gd name="connsiteX17" fmla="*/ 200025 w 2387098"/>
                  <a:gd name="connsiteY17" fmla="*/ 0 h 3274695"/>
                  <a:gd name="connsiteX0" fmla="*/ 200025 w 2387098"/>
                  <a:gd name="connsiteY0" fmla="*/ 0 h 3274695"/>
                  <a:gd name="connsiteX1" fmla="*/ 1537335 w 2387098"/>
                  <a:gd name="connsiteY1" fmla="*/ 0 h 3274695"/>
                  <a:gd name="connsiteX2" fmla="*/ 2387098 w 2387098"/>
                  <a:gd name="connsiteY2" fmla="*/ 918782 h 3274695"/>
                  <a:gd name="connsiteX3" fmla="*/ 2238398 w 2387098"/>
                  <a:gd name="connsiteY3" fmla="*/ 1133124 h 3274695"/>
                  <a:gd name="connsiteX4" fmla="*/ 1508760 w 2387098"/>
                  <a:gd name="connsiteY4" fmla="*/ 480060 h 3274695"/>
                  <a:gd name="connsiteX5" fmla="*/ 1388745 w 2387098"/>
                  <a:gd name="connsiteY5" fmla="*/ 417195 h 3274695"/>
                  <a:gd name="connsiteX6" fmla="*/ 1383030 w 2387098"/>
                  <a:gd name="connsiteY6" fmla="*/ 1703070 h 3274695"/>
                  <a:gd name="connsiteX7" fmla="*/ 1217295 w 2387098"/>
                  <a:gd name="connsiteY7" fmla="*/ 3188970 h 3274695"/>
                  <a:gd name="connsiteX8" fmla="*/ 1120140 w 2387098"/>
                  <a:gd name="connsiteY8" fmla="*/ 3274695 h 3274695"/>
                  <a:gd name="connsiteX9" fmla="*/ 617220 w 2387098"/>
                  <a:gd name="connsiteY9" fmla="*/ 3274695 h 3274695"/>
                  <a:gd name="connsiteX10" fmla="*/ 520065 w 2387098"/>
                  <a:gd name="connsiteY10" fmla="*/ 3143250 h 3274695"/>
                  <a:gd name="connsiteX11" fmla="*/ 371475 w 2387098"/>
                  <a:gd name="connsiteY11" fmla="*/ 1651635 h 3274695"/>
                  <a:gd name="connsiteX12" fmla="*/ 365760 w 2387098"/>
                  <a:gd name="connsiteY12" fmla="*/ 417195 h 3274695"/>
                  <a:gd name="connsiteX13" fmla="*/ 251460 w 2387098"/>
                  <a:gd name="connsiteY13" fmla="*/ 491490 h 3274695"/>
                  <a:gd name="connsiteX14" fmla="*/ 251460 w 2387098"/>
                  <a:gd name="connsiteY14" fmla="*/ 1571625 h 3274695"/>
                  <a:gd name="connsiteX15" fmla="*/ 0 w 2387098"/>
                  <a:gd name="connsiteY15" fmla="*/ 1560195 h 3274695"/>
                  <a:gd name="connsiteX16" fmla="*/ 0 w 2387098"/>
                  <a:gd name="connsiteY16" fmla="*/ 257175 h 3274695"/>
                  <a:gd name="connsiteX17" fmla="*/ 200025 w 2387098"/>
                  <a:gd name="connsiteY17" fmla="*/ 0 h 3274695"/>
                  <a:gd name="connsiteX0" fmla="*/ 420580 w 2607653"/>
                  <a:gd name="connsiteY0" fmla="*/ 1096451 h 4371146"/>
                  <a:gd name="connsiteX1" fmla="*/ 1757890 w 2607653"/>
                  <a:gd name="connsiteY1" fmla="*/ 1096451 h 4371146"/>
                  <a:gd name="connsiteX2" fmla="*/ 2607653 w 2607653"/>
                  <a:gd name="connsiteY2" fmla="*/ 2015233 h 4371146"/>
                  <a:gd name="connsiteX3" fmla="*/ 2458953 w 2607653"/>
                  <a:gd name="connsiteY3" fmla="*/ 2229575 h 4371146"/>
                  <a:gd name="connsiteX4" fmla="*/ 1729315 w 2607653"/>
                  <a:gd name="connsiteY4" fmla="*/ 1576511 h 4371146"/>
                  <a:gd name="connsiteX5" fmla="*/ 1609300 w 2607653"/>
                  <a:gd name="connsiteY5" fmla="*/ 1513646 h 4371146"/>
                  <a:gd name="connsiteX6" fmla="*/ 1603585 w 2607653"/>
                  <a:gd name="connsiteY6" fmla="*/ 2799521 h 4371146"/>
                  <a:gd name="connsiteX7" fmla="*/ 1437850 w 2607653"/>
                  <a:gd name="connsiteY7" fmla="*/ 4285421 h 4371146"/>
                  <a:gd name="connsiteX8" fmla="*/ 1340695 w 2607653"/>
                  <a:gd name="connsiteY8" fmla="*/ 4371146 h 4371146"/>
                  <a:gd name="connsiteX9" fmla="*/ 837775 w 2607653"/>
                  <a:gd name="connsiteY9" fmla="*/ 4371146 h 4371146"/>
                  <a:gd name="connsiteX10" fmla="*/ 740620 w 2607653"/>
                  <a:gd name="connsiteY10" fmla="*/ 4239701 h 4371146"/>
                  <a:gd name="connsiteX11" fmla="*/ 592030 w 2607653"/>
                  <a:gd name="connsiteY11" fmla="*/ 2748086 h 4371146"/>
                  <a:gd name="connsiteX12" fmla="*/ 586315 w 2607653"/>
                  <a:gd name="connsiteY12" fmla="*/ 1513646 h 4371146"/>
                  <a:gd name="connsiteX13" fmla="*/ 472015 w 2607653"/>
                  <a:gd name="connsiteY13" fmla="*/ 1587941 h 4371146"/>
                  <a:gd name="connsiteX14" fmla="*/ 472015 w 2607653"/>
                  <a:gd name="connsiteY14" fmla="*/ 2668076 h 4371146"/>
                  <a:gd name="connsiteX15" fmla="*/ 220555 w 2607653"/>
                  <a:gd name="connsiteY15" fmla="*/ 2656646 h 4371146"/>
                  <a:gd name="connsiteX16" fmla="*/ 0 w 2607653"/>
                  <a:gd name="connsiteY16" fmla="*/ 171449 h 4371146"/>
                  <a:gd name="connsiteX17" fmla="*/ 420580 w 2607653"/>
                  <a:gd name="connsiteY17" fmla="*/ 1096451 h 4371146"/>
                  <a:gd name="connsiteX0" fmla="*/ 649960 w 2837033"/>
                  <a:gd name="connsiteY0" fmla="*/ 1096451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701395 w 2837033"/>
                  <a:gd name="connsiteY13" fmla="*/ 1587941 h 4371146"/>
                  <a:gd name="connsiteX14" fmla="*/ 701395 w 2837033"/>
                  <a:gd name="connsiteY14" fmla="*/ 2668076 h 4371146"/>
                  <a:gd name="connsiteX15" fmla="*/ 0 w 2837033"/>
                  <a:gd name="connsiteY15" fmla="*/ 265827 h 4371146"/>
                  <a:gd name="connsiteX16" fmla="*/ 229380 w 2837033"/>
                  <a:gd name="connsiteY16" fmla="*/ 171449 h 4371146"/>
                  <a:gd name="connsiteX17" fmla="*/ 649960 w 2837033"/>
                  <a:gd name="connsiteY17" fmla="*/ 1096451 h 4371146"/>
                  <a:gd name="connsiteX0" fmla="*/ 649960 w 2837033"/>
                  <a:gd name="connsiteY0" fmla="*/ 1096451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701395 w 2837033"/>
                  <a:gd name="connsiteY13" fmla="*/ 1587941 h 4371146"/>
                  <a:gd name="connsiteX14" fmla="*/ 0 w 2837033"/>
                  <a:gd name="connsiteY14" fmla="*/ 265827 h 4371146"/>
                  <a:gd name="connsiteX15" fmla="*/ 229380 w 2837033"/>
                  <a:gd name="connsiteY15" fmla="*/ 171449 h 4371146"/>
                  <a:gd name="connsiteX16" fmla="*/ 649960 w 2837033"/>
                  <a:gd name="connsiteY16" fmla="*/ 1096451 h 4371146"/>
                  <a:gd name="connsiteX0" fmla="*/ 649960 w 2837033"/>
                  <a:gd name="connsiteY0" fmla="*/ 1096451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666105 w 2837033"/>
                  <a:gd name="connsiteY13" fmla="*/ 1473253 h 4371146"/>
                  <a:gd name="connsiteX14" fmla="*/ 0 w 2837033"/>
                  <a:gd name="connsiteY14" fmla="*/ 265827 h 4371146"/>
                  <a:gd name="connsiteX15" fmla="*/ 229380 w 2837033"/>
                  <a:gd name="connsiteY15" fmla="*/ 171449 h 4371146"/>
                  <a:gd name="connsiteX16" fmla="*/ 649960 w 2837033"/>
                  <a:gd name="connsiteY16" fmla="*/ 1096451 h 4371146"/>
                  <a:gd name="connsiteX0" fmla="*/ 985207 w 2837033"/>
                  <a:gd name="connsiteY0" fmla="*/ 1114097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666105 w 2837033"/>
                  <a:gd name="connsiteY13" fmla="*/ 1473253 h 4371146"/>
                  <a:gd name="connsiteX14" fmla="*/ 0 w 2837033"/>
                  <a:gd name="connsiteY14" fmla="*/ 265827 h 4371146"/>
                  <a:gd name="connsiteX15" fmla="*/ 229380 w 2837033"/>
                  <a:gd name="connsiteY15" fmla="*/ 171449 h 4371146"/>
                  <a:gd name="connsiteX16" fmla="*/ 985207 w 2837033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13172 w 2784100"/>
                  <a:gd name="connsiteY13" fmla="*/ 1473253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13172 w 2784100"/>
                  <a:gd name="connsiteY13" fmla="*/ 1473253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04351 w 2784100"/>
                  <a:gd name="connsiteY13" fmla="*/ 1464431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04351 w 2784100"/>
                  <a:gd name="connsiteY13" fmla="*/ 1464431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987646 h 4244695"/>
                  <a:gd name="connsiteX1" fmla="*/ 1934337 w 2784100"/>
                  <a:gd name="connsiteY1" fmla="*/ 970000 h 4244695"/>
                  <a:gd name="connsiteX2" fmla="*/ 2784100 w 2784100"/>
                  <a:gd name="connsiteY2" fmla="*/ 1888782 h 4244695"/>
                  <a:gd name="connsiteX3" fmla="*/ 2635400 w 2784100"/>
                  <a:gd name="connsiteY3" fmla="*/ 2103124 h 4244695"/>
                  <a:gd name="connsiteX4" fmla="*/ 1905762 w 2784100"/>
                  <a:gd name="connsiteY4" fmla="*/ 1450060 h 4244695"/>
                  <a:gd name="connsiteX5" fmla="*/ 1785747 w 2784100"/>
                  <a:gd name="connsiteY5" fmla="*/ 1387195 h 4244695"/>
                  <a:gd name="connsiteX6" fmla="*/ 1780032 w 2784100"/>
                  <a:gd name="connsiteY6" fmla="*/ 2673070 h 4244695"/>
                  <a:gd name="connsiteX7" fmla="*/ 1614297 w 2784100"/>
                  <a:gd name="connsiteY7" fmla="*/ 4158970 h 4244695"/>
                  <a:gd name="connsiteX8" fmla="*/ 1517142 w 2784100"/>
                  <a:gd name="connsiteY8" fmla="*/ 4244695 h 4244695"/>
                  <a:gd name="connsiteX9" fmla="*/ 1014222 w 2784100"/>
                  <a:gd name="connsiteY9" fmla="*/ 4244695 h 4244695"/>
                  <a:gd name="connsiteX10" fmla="*/ 917067 w 2784100"/>
                  <a:gd name="connsiteY10" fmla="*/ 4113250 h 4244695"/>
                  <a:gd name="connsiteX11" fmla="*/ 768477 w 2784100"/>
                  <a:gd name="connsiteY11" fmla="*/ 2621635 h 4244695"/>
                  <a:gd name="connsiteX12" fmla="*/ 762762 w 2784100"/>
                  <a:gd name="connsiteY12" fmla="*/ 1387195 h 4244695"/>
                  <a:gd name="connsiteX13" fmla="*/ 604351 w 2784100"/>
                  <a:gd name="connsiteY13" fmla="*/ 1337980 h 4244695"/>
                  <a:gd name="connsiteX14" fmla="*/ 0 w 2784100"/>
                  <a:gd name="connsiteY14" fmla="*/ 254065 h 4244695"/>
                  <a:gd name="connsiteX15" fmla="*/ 176447 w 2784100"/>
                  <a:gd name="connsiteY15" fmla="*/ 44998 h 4244695"/>
                  <a:gd name="connsiteX16" fmla="*/ 932274 w 2784100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38680 w 2837033"/>
                  <a:gd name="connsiteY5" fmla="*/ 1387195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57284 w 2837033"/>
                  <a:gd name="connsiteY13" fmla="*/ 1337980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38680 w 2837033"/>
                  <a:gd name="connsiteY5" fmla="*/ 1387195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38680 w 2837033"/>
                  <a:gd name="connsiteY5" fmla="*/ 1387195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07870 w 2837033"/>
                  <a:gd name="connsiteY1" fmla="*/ 1022935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51981 w 2837033"/>
                  <a:gd name="connsiteY1" fmla="*/ 996468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3101700"/>
                  <a:gd name="connsiteY0" fmla="*/ 987646 h 4244695"/>
                  <a:gd name="connsiteX1" fmla="*/ 1951981 w 3101700"/>
                  <a:gd name="connsiteY1" fmla="*/ 996468 h 4244695"/>
                  <a:gd name="connsiteX2" fmla="*/ 3101700 w 3101700"/>
                  <a:gd name="connsiteY2" fmla="*/ 1571181 h 4244695"/>
                  <a:gd name="connsiteX3" fmla="*/ 2688333 w 3101700"/>
                  <a:gd name="connsiteY3" fmla="*/ 2103124 h 4244695"/>
                  <a:gd name="connsiteX4" fmla="*/ 1932227 w 3101700"/>
                  <a:gd name="connsiteY4" fmla="*/ 1423592 h 4244695"/>
                  <a:gd name="connsiteX5" fmla="*/ 1821038 w 3101700"/>
                  <a:gd name="connsiteY5" fmla="*/ 1457774 h 4244695"/>
                  <a:gd name="connsiteX6" fmla="*/ 1832965 w 3101700"/>
                  <a:gd name="connsiteY6" fmla="*/ 2673070 h 4244695"/>
                  <a:gd name="connsiteX7" fmla="*/ 1667230 w 3101700"/>
                  <a:gd name="connsiteY7" fmla="*/ 4158970 h 4244695"/>
                  <a:gd name="connsiteX8" fmla="*/ 1570075 w 3101700"/>
                  <a:gd name="connsiteY8" fmla="*/ 4244695 h 4244695"/>
                  <a:gd name="connsiteX9" fmla="*/ 1067155 w 3101700"/>
                  <a:gd name="connsiteY9" fmla="*/ 4244695 h 4244695"/>
                  <a:gd name="connsiteX10" fmla="*/ 970000 w 3101700"/>
                  <a:gd name="connsiteY10" fmla="*/ 4113250 h 4244695"/>
                  <a:gd name="connsiteX11" fmla="*/ 821410 w 3101700"/>
                  <a:gd name="connsiteY11" fmla="*/ 2621635 h 4244695"/>
                  <a:gd name="connsiteX12" fmla="*/ 815695 w 3101700"/>
                  <a:gd name="connsiteY12" fmla="*/ 1387195 h 4244695"/>
                  <a:gd name="connsiteX13" fmla="*/ 604351 w 3101700"/>
                  <a:gd name="connsiteY13" fmla="*/ 1285047 h 4244695"/>
                  <a:gd name="connsiteX14" fmla="*/ 0 w 3101700"/>
                  <a:gd name="connsiteY14" fmla="*/ 254066 h 4244695"/>
                  <a:gd name="connsiteX15" fmla="*/ 229380 w 3101700"/>
                  <a:gd name="connsiteY15" fmla="*/ 44998 h 4244695"/>
                  <a:gd name="connsiteX16" fmla="*/ 985207 w 3101700"/>
                  <a:gd name="connsiteY16" fmla="*/ 987646 h 4244695"/>
                  <a:gd name="connsiteX0" fmla="*/ 985207 w 3101700"/>
                  <a:gd name="connsiteY0" fmla="*/ 987646 h 4244695"/>
                  <a:gd name="connsiteX1" fmla="*/ 1951981 w 3101700"/>
                  <a:gd name="connsiteY1" fmla="*/ 996468 h 4244695"/>
                  <a:gd name="connsiteX2" fmla="*/ 3101700 w 3101700"/>
                  <a:gd name="connsiteY2" fmla="*/ 1571181 h 4244695"/>
                  <a:gd name="connsiteX3" fmla="*/ 2926535 w 3101700"/>
                  <a:gd name="connsiteY3" fmla="*/ 1706126 h 4244695"/>
                  <a:gd name="connsiteX4" fmla="*/ 1932227 w 3101700"/>
                  <a:gd name="connsiteY4" fmla="*/ 1423592 h 4244695"/>
                  <a:gd name="connsiteX5" fmla="*/ 1821038 w 3101700"/>
                  <a:gd name="connsiteY5" fmla="*/ 1457774 h 4244695"/>
                  <a:gd name="connsiteX6" fmla="*/ 1832965 w 3101700"/>
                  <a:gd name="connsiteY6" fmla="*/ 2673070 h 4244695"/>
                  <a:gd name="connsiteX7" fmla="*/ 1667230 w 3101700"/>
                  <a:gd name="connsiteY7" fmla="*/ 4158970 h 4244695"/>
                  <a:gd name="connsiteX8" fmla="*/ 1570075 w 3101700"/>
                  <a:gd name="connsiteY8" fmla="*/ 4244695 h 4244695"/>
                  <a:gd name="connsiteX9" fmla="*/ 1067155 w 3101700"/>
                  <a:gd name="connsiteY9" fmla="*/ 4244695 h 4244695"/>
                  <a:gd name="connsiteX10" fmla="*/ 970000 w 3101700"/>
                  <a:gd name="connsiteY10" fmla="*/ 4113250 h 4244695"/>
                  <a:gd name="connsiteX11" fmla="*/ 821410 w 3101700"/>
                  <a:gd name="connsiteY11" fmla="*/ 2621635 h 4244695"/>
                  <a:gd name="connsiteX12" fmla="*/ 815695 w 3101700"/>
                  <a:gd name="connsiteY12" fmla="*/ 1387195 h 4244695"/>
                  <a:gd name="connsiteX13" fmla="*/ 604351 w 3101700"/>
                  <a:gd name="connsiteY13" fmla="*/ 1285047 h 4244695"/>
                  <a:gd name="connsiteX14" fmla="*/ 0 w 3101700"/>
                  <a:gd name="connsiteY14" fmla="*/ 254066 h 4244695"/>
                  <a:gd name="connsiteX15" fmla="*/ 229380 w 3101700"/>
                  <a:gd name="connsiteY15" fmla="*/ 44998 h 4244695"/>
                  <a:gd name="connsiteX16" fmla="*/ 985207 w 3101700"/>
                  <a:gd name="connsiteY16" fmla="*/ 987646 h 4244695"/>
                  <a:gd name="connsiteX0" fmla="*/ 985207 w 3101700"/>
                  <a:gd name="connsiteY0" fmla="*/ 987646 h 4244695"/>
                  <a:gd name="connsiteX1" fmla="*/ 1951981 w 3101700"/>
                  <a:gd name="connsiteY1" fmla="*/ 996468 h 4244695"/>
                  <a:gd name="connsiteX2" fmla="*/ 3101700 w 3101700"/>
                  <a:gd name="connsiteY2" fmla="*/ 1571181 h 4244695"/>
                  <a:gd name="connsiteX3" fmla="*/ 2917713 w 3101700"/>
                  <a:gd name="connsiteY3" fmla="*/ 1732594 h 4244695"/>
                  <a:gd name="connsiteX4" fmla="*/ 1932227 w 3101700"/>
                  <a:gd name="connsiteY4" fmla="*/ 1423592 h 4244695"/>
                  <a:gd name="connsiteX5" fmla="*/ 1821038 w 3101700"/>
                  <a:gd name="connsiteY5" fmla="*/ 1457774 h 4244695"/>
                  <a:gd name="connsiteX6" fmla="*/ 1832965 w 3101700"/>
                  <a:gd name="connsiteY6" fmla="*/ 2673070 h 4244695"/>
                  <a:gd name="connsiteX7" fmla="*/ 1667230 w 3101700"/>
                  <a:gd name="connsiteY7" fmla="*/ 4158970 h 4244695"/>
                  <a:gd name="connsiteX8" fmla="*/ 1570075 w 3101700"/>
                  <a:gd name="connsiteY8" fmla="*/ 4244695 h 4244695"/>
                  <a:gd name="connsiteX9" fmla="*/ 1067155 w 3101700"/>
                  <a:gd name="connsiteY9" fmla="*/ 4244695 h 4244695"/>
                  <a:gd name="connsiteX10" fmla="*/ 970000 w 3101700"/>
                  <a:gd name="connsiteY10" fmla="*/ 4113250 h 4244695"/>
                  <a:gd name="connsiteX11" fmla="*/ 821410 w 3101700"/>
                  <a:gd name="connsiteY11" fmla="*/ 2621635 h 4244695"/>
                  <a:gd name="connsiteX12" fmla="*/ 815695 w 3101700"/>
                  <a:gd name="connsiteY12" fmla="*/ 1387195 h 4244695"/>
                  <a:gd name="connsiteX13" fmla="*/ 604351 w 3101700"/>
                  <a:gd name="connsiteY13" fmla="*/ 1285047 h 4244695"/>
                  <a:gd name="connsiteX14" fmla="*/ 0 w 3101700"/>
                  <a:gd name="connsiteY14" fmla="*/ 254066 h 4244695"/>
                  <a:gd name="connsiteX15" fmla="*/ 229380 w 3101700"/>
                  <a:gd name="connsiteY15" fmla="*/ 44998 h 4244695"/>
                  <a:gd name="connsiteX16" fmla="*/ 985207 w 3101700"/>
                  <a:gd name="connsiteY16" fmla="*/ 987646 h 4244695"/>
                  <a:gd name="connsiteX0" fmla="*/ 985207 w 3101700"/>
                  <a:gd name="connsiteY0" fmla="*/ 899421 h 4156470"/>
                  <a:gd name="connsiteX1" fmla="*/ 1951981 w 3101700"/>
                  <a:gd name="connsiteY1" fmla="*/ 908243 h 4156470"/>
                  <a:gd name="connsiteX2" fmla="*/ 3101700 w 3101700"/>
                  <a:gd name="connsiteY2" fmla="*/ 1482956 h 4156470"/>
                  <a:gd name="connsiteX3" fmla="*/ 2917713 w 3101700"/>
                  <a:gd name="connsiteY3" fmla="*/ 1644369 h 4156470"/>
                  <a:gd name="connsiteX4" fmla="*/ 1932227 w 3101700"/>
                  <a:gd name="connsiteY4" fmla="*/ 1335367 h 4156470"/>
                  <a:gd name="connsiteX5" fmla="*/ 1821038 w 3101700"/>
                  <a:gd name="connsiteY5" fmla="*/ 1369549 h 4156470"/>
                  <a:gd name="connsiteX6" fmla="*/ 1832965 w 3101700"/>
                  <a:gd name="connsiteY6" fmla="*/ 2584845 h 4156470"/>
                  <a:gd name="connsiteX7" fmla="*/ 1667230 w 3101700"/>
                  <a:gd name="connsiteY7" fmla="*/ 4070745 h 4156470"/>
                  <a:gd name="connsiteX8" fmla="*/ 1570075 w 3101700"/>
                  <a:gd name="connsiteY8" fmla="*/ 4156470 h 4156470"/>
                  <a:gd name="connsiteX9" fmla="*/ 1067155 w 3101700"/>
                  <a:gd name="connsiteY9" fmla="*/ 4156470 h 4156470"/>
                  <a:gd name="connsiteX10" fmla="*/ 970000 w 3101700"/>
                  <a:gd name="connsiteY10" fmla="*/ 4025025 h 4156470"/>
                  <a:gd name="connsiteX11" fmla="*/ 821410 w 3101700"/>
                  <a:gd name="connsiteY11" fmla="*/ 2533410 h 4156470"/>
                  <a:gd name="connsiteX12" fmla="*/ 815695 w 3101700"/>
                  <a:gd name="connsiteY12" fmla="*/ 1298970 h 4156470"/>
                  <a:gd name="connsiteX13" fmla="*/ 604351 w 3101700"/>
                  <a:gd name="connsiteY13" fmla="*/ 1196822 h 4156470"/>
                  <a:gd name="connsiteX14" fmla="*/ 0 w 3101700"/>
                  <a:gd name="connsiteY14" fmla="*/ 165841 h 4156470"/>
                  <a:gd name="connsiteX15" fmla="*/ 114690 w 3101700"/>
                  <a:gd name="connsiteY15" fmla="*/ 44998 h 4156470"/>
                  <a:gd name="connsiteX16" fmla="*/ 985207 w 3101700"/>
                  <a:gd name="connsiteY16" fmla="*/ 899421 h 4156470"/>
                  <a:gd name="connsiteX0" fmla="*/ 1064608 w 3181101"/>
                  <a:gd name="connsiteY0" fmla="*/ 899421 h 4156470"/>
                  <a:gd name="connsiteX1" fmla="*/ 2031382 w 3181101"/>
                  <a:gd name="connsiteY1" fmla="*/ 908243 h 4156470"/>
                  <a:gd name="connsiteX2" fmla="*/ 3181101 w 3181101"/>
                  <a:gd name="connsiteY2" fmla="*/ 1482956 h 4156470"/>
                  <a:gd name="connsiteX3" fmla="*/ 2997114 w 3181101"/>
                  <a:gd name="connsiteY3" fmla="*/ 1644369 h 4156470"/>
                  <a:gd name="connsiteX4" fmla="*/ 2011628 w 3181101"/>
                  <a:gd name="connsiteY4" fmla="*/ 1335367 h 4156470"/>
                  <a:gd name="connsiteX5" fmla="*/ 1900439 w 3181101"/>
                  <a:gd name="connsiteY5" fmla="*/ 1369549 h 4156470"/>
                  <a:gd name="connsiteX6" fmla="*/ 1912366 w 3181101"/>
                  <a:gd name="connsiteY6" fmla="*/ 2584845 h 4156470"/>
                  <a:gd name="connsiteX7" fmla="*/ 1746631 w 3181101"/>
                  <a:gd name="connsiteY7" fmla="*/ 4070745 h 4156470"/>
                  <a:gd name="connsiteX8" fmla="*/ 1649476 w 3181101"/>
                  <a:gd name="connsiteY8" fmla="*/ 4156470 h 4156470"/>
                  <a:gd name="connsiteX9" fmla="*/ 1146556 w 3181101"/>
                  <a:gd name="connsiteY9" fmla="*/ 4156470 h 4156470"/>
                  <a:gd name="connsiteX10" fmla="*/ 1049401 w 3181101"/>
                  <a:gd name="connsiteY10" fmla="*/ 4025025 h 4156470"/>
                  <a:gd name="connsiteX11" fmla="*/ 900811 w 3181101"/>
                  <a:gd name="connsiteY11" fmla="*/ 2533410 h 4156470"/>
                  <a:gd name="connsiteX12" fmla="*/ 895096 w 3181101"/>
                  <a:gd name="connsiteY12" fmla="*/ 1298970 h 4156470"/>
                  <a:gd name="connsiteX13" fmla="*/ 683752 w 3181101"/>
                  <a:gd name="connsiteY13" fmla="*/ 1196822 h 4156470"/>
                  <a:gd name="connsiteX14" fmla="*/ 0 w 3181101"/>
                  <a:gd name="connsiteY14" fmla="*/ 289352 h 4156470"/>
                  <a:gd name="connsiteX15" fmla="*/ 194091 w 3181101"/>
                  <a:gd name="connsiteY15" fmla="*/ 44998 h 4156470"/>
                  <a:gd name="connsiteX16" fmla="*/ 1064608 w 3181101"/>
                  <a:gd name="connsiteY16" fmla="*/ 899421 h 4156470"/>
                  <a:gd name="connsiteX0" fmla="*/ 1202823 w 3319316"/>
                  <a:gd name="connsiteY0" fmla="*/ 1075865 h 4332914"/>
                  <a:gd name="connsiteX1" fmla="*/ 2169597 w 3319316"/>
                  <a:gd name="connsiteY1" fmla="*/ 1084687 h 4332914"/>
                  <a:gd name="connsiteX2" fmla="*/ 3319316 w 3319316"/>
                  <a:gd name="connsiteY2" fmla="*/ 1659400 h 4332914"/>
                  <a:gd name="connsiteX3" fmla="*/ 3135329 w 3319316"/>
                  <a:gd name="connsiteY3" fmla="*/ 1820813 h 4332914"/>
                  <a:gd name="connsiteX4" fmla="*/ 2149843 w 3319316"/>
                  <a:gd name="connsiteY4" fmla="*/ 1511811 h 4332914"/>
                  <a:gd name="connsiteX5" fmla="*/ 2038654 w 3319316"/>
                  <a:gd name="connsiteY5" fmla="*/ 1545993 h 4332914"/>
                  <a:gd name="connsiteX6" fmla="*/ 2050581 w 3319316"/>
                  <a:gd name="connsiteY6" fmla="*/ 2761289 h 4332914"/>
                  <a:gd name="connsiteX7" fmla="*/ 1884846 w 3319316"/>
                  <a:gd name="connsiteY7" fmla="*/ 4247189 h 4332914"/>
                  <a:gd name="connsiteX8" fmla="*/ 1787691 w 3319316"/>
                  <a:gd name="connsiteY8" fmla="*/ 4332914 h 4332914"/>
                  <a:gd name="connsiteX9" fmla="*/ 1284771 w 3319316"/>
                  <a:gd name="connsiteY9" fmla="*/ 4332914 h 4332914"/>
                  <a:gd name="connsiteX10" fmla="*/ 1187616 w 3319316"/>
                  <a:gd name="connsiteY10" fmla="*/ 4201469 h 4332914"/>
                  <a:gd name="connsiteX11" fmla="*/ 1039026 w 3319316"/>
                  <a:gd name="connsiteY11" fmla="*/ 2709854 h 4332914"/>
                  <a:gd name="connsiteX12" fmla="*/ 1033311 w 3319316"/>
                  <a:gd name="connsiteY12" fmla="*/ 1475414 h 4332914"/>
                  <a:gd name="connsiteX13" fmla="*/ 821967 w 3319316"/>
                  <a:gd name="connsiteY13" fmla="*/ 1373266 h 4332914"/>
                  <a:gd name="connsiteX14" fmla="*/ 138215 w 3319316"/>
                  <a:gd name="connsiteY14" fmla="*/ 465796 h 4332914"/>
                  <a:gd name="connsiteX15" fmla="*/ 102926 w 3319316"/>
                  <a:gd name="connsiteY15" fmla="*/ 44999 h 4332914"/>
                  <a:gd name="connsiteX16" fmla="*/ 1202823 w 3319316"/>
                  <a:gd name="connsiteY16" fmla="*/ 1075865 h 4332914"/>
                  <a:gd name="connsiteX0" fmla="*/ 1320453 w 3436946"/>
                  <a:gd name="connsiteY0" fmla="*/ 1075865 h 4332914"/>
                  <a:gd name="connsiteX1" fmla="*/ 2287227 w 3436946"/>
                  <a:gd name="connsiteY1" fmla="*/ 1084687 h 4332914"/>
                  <a:gd name="connsiteX2" fmla="*/ 3436946 w 3436946"/>
                  <a:gd name="connsiteY2" fmla="*/ 1659400 h 4332914"/>
                  <a:gd name="connsiteX3" fmla="*/ 3252959 w 3436946"/>
                  <a:gd name="connsiteY3" fmla="*/ 1820813 h 4332914"/>
                  <a:gd name="connsiteX4" fmla="*/ 2267473 w 3436946"/>
                  <a:gd name="connsiteY4" fmla="*/ 1511811 h 4332914"/>
                  <a:gd name="connsiteX5" fmla="*/ 2156284 w 3436946"/>
                  <a:gd name="connsiteY5" fmla="*/ 1545993 h 4332914"/>
                  <a:gd name="connsiteX6" fmla="*/ 2168211 w 3436946"/>
                  <a:gd name="connsiteY6" fmla="*/ 2761289 h 4332914"/>
                  <a:gd name="connsiteX7" fmla="*/ 2002476 w 3436946"/>
                  <a:gd name="connsiteY7" fmla="*/ 4247189 h 4332914"/>
                  <a:gd name="connsiteX8" fmla="*/ 1905321 w 3436946"/>
                  <a:gd name="connsiteY8" fmla="*/ 4332914 h 4332914"/>
                  <a:gd name="connsiteX9" fmla="*/ 1402401 w 3436946"/>
                  <a:gd name="connsiteY9" fmla="*/ 4332914 h 4332914"/>
                  <a:gd name="connsiteX10" fmla="*/ 1305246 w 3436946"/>
                  <a:gd name="connsiteY10" fmla="*/ 4201469 h 4332914"/>
                  <a:gd name="connsiteX11" fmla="*/ 1156656 w 3436946"/>
                  <a:gd name="connsiteY11" fmla="*/ 2709854 h 4332914"/>
                  <a:gd name="connsiteX12" fmla="*/ 1150941 w 3436946"/>
                  <a:gd name="connsiteY12" fmla="*/ 1475414 h 4332914"/>
                  <a:gd name="connsiteX13" fmla="*/ 939597 w 3436946"/>
                  <a:gd name="connsiteY13" fmla="*/ 1373266 h 4332914"/>
                  <a:gd name="connsiteX14" fmla="*/ 0 w 3436946"/>
                  <a:gd name="connsiteY14" fmla="*/ 201128 h 4332914"/>
                  <a:gd name="connsiteX15" fmla="*/ 220556 w 3436946"/>
                  <a:gd name="connsiteY15" fmla="*/ 44999 h 4332914"/>
                  <a:gd name="connsiteX16" fmla="*/ 1320453 w 3436946"/>
                  <a:gd name="connsiteY16" fmla="*/ 1075865 h 4332914"/>
                  <a:gd name="connsiteX0" fmla="*/ 1320453 w 3436946"/>
                  <a:gd name="connsiteY0" fmla="*/ 1075865 h 4332914"/>
                  <a:gd name="connsiteX1" fmla="*/ 2287227 w 3436946"/>
                  <a:gd name="connsiteY1" fmla="*/ 1084687 h 4332914"/>
                  <a:gd name="connsiteX2" fmla="*/ 3436946 w 3436946"/>
                  <a:gd name="connsiteY2" fmla="*/ 1659400 h 4332914"/>
                  <a:gd name="connsiteX3" fmla="*/ 3252959 w 3436946"/>
                  <a:gd name="connsiteY3" fmla="*/ 1989309 h 4332914"/>
                  <a:gd name="connsiteX4" fmla="*/ 2267473 w 3436946"/>
                  <a:gd name="connsiteY4" fmla="*/ 1511811 h 4332914"/>
                  <a:gd name="connsiteX5" fmla="*/ 2156284 w 3436946"/>
                  <a:gd name="connsiteY5" fmla="*/ 1545993 h 4332914"/>
                  <a:gd name="connsiteX6" fmla="*/ 2168211 w 3436946"/>
                  <a:gd name="connsiteY6" fmla="*/ 2761289 h 4332914"/>
                  <a:gd name="connsiteX7" fmla="*/ 2002476 w 3436946"/>
                  <a:gd name="connsiteY7" fmla="*/ 4247189 h 4332914"/>
                  <a:gd name="connsiteX8" fmla="*/ 1905321 w 3436946"/>
                  <a:gd name="connsiteY8" fmla="*/ 4332914 h 4332914"/>
                  <a:gd name="connsiteX9" fmla="*/ 1402401 w 3436946"/>
                  <a:gd name="connsiteY9" fmla="*/ 4332914 h 4332914"/>
                  <a:gd name="connsiteX10" fmla="*/ 1305246 w 3436946"/>
                  <a:gd name="connsiteY10" fmla="*/ 4201469 h 4332914"/>
                  <a:gd name="connsiteX11" fmla="*/ 1156656 w 3436946"/>
                  <a:gd name="connsiteY11" fmla="*/ 2709854 h 4332914"/>
                  <a:gd name="connsiteX12" fmla="*/ 1150941 w 3436946"/>
                  <a:gd name="connsiteY12" fmla="*/ 1475414 h 4332914"/>
                  <a:gd name="connsiteX13" fmla="*/ 939597 w 3436946"/>
                  <a:gd name="connsiteY13" fmla="*/ 1373266 h 4332914"/>
                  <a:gd name="connsiteX14" fmla="*/ 0 w 3436946"/>
                  <a:gd name="connsiteY14" fmla="*/ 201128 h 4332914"/>
                  <a:gd name="connsiteX15" fmla="*/ 220556 w 3436946"/>
                  <a:gd name="connsiteY15" fmla="*/ 44999 h 4332914"/>
                  <a:gd name="connsiteX16" fmla="*/ 1320453 w 3436946"/>
                  <a:gd name="connsiteY16" fmla="*/ 1075865 h 4332914"/>
                  <a:gd name="connsiteX0" fmla="*/ 1320453 w 3418224"/>
                  <a:gd name="connsiteY0" fmla="*/ 1075865 h 4332914"/>
                  <a:gd name="connsiteX1" fmla="*/ 2287227 w 3418224"/>
                  <a:gd name="connsiteY1" fmla="*/ 1084687 h 4332914"/>
                  <a:gd name="connsiteX2" fmla="*/ 3418224 w 3418224"/>
                  <a:gd name="connsiteY2" fmla="*/ 1734289 h 4332914"/>
                  <a:gd name="connsiteX3" fmla="*/ 3252959 w 3418224"/>
                  <a:gd name="connsiteY3" fmla="*/ 1989309 h 4332914"/>
                  <a:gd name="connsiteX4" fmla="*/ 2267473 w 3418224"/>
                  <a:gd name="connsiteY4" fmla="*/ 1511811 h 4332914"/>
                  <a:gd name="connsiteX5" fmla="*/ 2156284 w 3418224"/>
                  <a:gd name="connsiteY5" fmla="*/ 1545993 h 4332914"/>
                  <a:gd name="connsiteX6" fmla="*/ 2168211 w 3418224"/>
                  <a:gd name="connsiteY6" fmla="*/ 2761289 h 4332914"/>
                  <a:gd name="connsiteX7" fmla="*/ 2002476 w 3418224"/>
                  <a:gd name="connsiteY7" fmla="*/ 4247189 h 4332914"/>
                  <a:gd name="connsiteX8" fmla="*/ 1905321 w 3418224"/>
                  <a:gd name="connsiteY8" fmla="*/ 4332914 h 4332914"/>
                  <a:gd name="connsiteX9" fmla="*/ 1402401 w 3418224"/>
                  <a:gd name="connsiteY9" fmla="*/ 4332914 h 4332914"/>
                  <a:gd name="connsiteX10" fmla="*/ 1305246 w 3418224"/>
                  <a:gd name="connsiteY10" fmla="*/ 4201469 h 4332914"/>
                  <a:gd name="connsiteX11" fmla="*/ 1156656 w 3418224"/>
                  <a:gd name="connsiteY11" fmla="*/ 2709854 h 4332914"/>
                  <a:gd name="connsiteX12" fmla="*/ 1150941 w 3418224"/>
                  <a:gd name="connsiteY12" fmla="*/ 1475414 h 4332914"/>
                  <a:gd name="connsiteX13" fmla="*/ 939597 w 3418224"/>
                  <a:gd name="connsiteY13" fmla="*/ 1373266 h 4332914"/>
                  <a:gd name="connsiteX14" fmla="*/ 0 w 3418224"/>
                  <a:gd name="connsiteY14" fmla="*/ 201128 h 4332914"/>
                  <a:gd name="connsiteX15" fmla="*/ 220556 w 3418224"/>
                  <a:gd name="connsiteY15" fmla="*/ 44999 h 4332914"/>
                  <a:gd name="connsiteX16" fmla="*/ 1320453 w 3418224"/>
                  <a:gd name="connsiteY16" fmla="*/ 1075865 h 4332914"/>
                  <a:gd name="connsiteX0" fmla="*/ 1320453 w 3418224"/>
                  <a:gd name="connsiteY0" fmla="*/ 1075864 h 4332913"/>
                  <a:gd name="connsiteX1" fmla="*/ 2287227 w 3418224"/>
                  <a:gd name="connsiteY1" fmla="*/ 1084686 h 4332913"/>
                  <a:gd name="connsiteX2" fmla="*/ 3418224 w 3418224"/>
                  <a:gd name="connsiteY2" fmla="*/ 1734288 h 4332913"/>
                  <a:gd name="connsiteX3" fmla="*/ 3252959 w 3418224"/>
                  <a:gd name="connsiteY3" fmla="*/ 1989308 h 4332913"/>
                  <a:gd name="connsiteX4" fmla="*/ 2267473 w 3418224"/>
                  <a:gd name="connsiteY4" fmla="*/ 1511810 h 4332913"/>
                  <a:gd name="connsiteX5" fmla="*/ 2156284 w 3418224"/>
                  <a:gd name="connsiteY5" fmla="*/ 1545992 h 4332913"/>
                  <a:gd name="connsiteX6" fmla="*/ 2168211 w 3418224"/>
                  <a:gd name="connsiteY6" fmla="*/ 2761288 h 4332913"/>
                  <a:gd name="connsiteX7" fmla="*/ 2002476 w 3418224"/>
                  <a:gd name="connsiteY7" fmla="*/ 4247188 h 4332913"/>
                  <a:gd name="connsiteX8" fmla="*/ 1905321 w 3418224"/>
                  <a:gd name="connsiteY8" fmla="*/ 4332913 h 4332913"/>
                  <a:gd name="connsiteX9" fmla="*/ 1402401 w 3418224"/>
                  <a:gd name="connsiteY9" fmla="*/ 4332913 h 4332913"/>
                  <a:gd name="connsiteX10" fmla="*/ 1305246 w 3418224"/>
                  <a:gd name="connsiteY10" fmla="*/ 4201468 h 4332913"/>
                  <a:gd name="connsiteX11" fmla="*/ 1156656 w 3418224"/>
                  <a:gd name="connsiteY11" fmla="*/ 2709853 h 4332913"/>
                  <a:gd name="connsiteX12" fmla="*/ 1150941 w 3418224"/>
                  <a:gd name="connsiteY12" fmla="*/ 1475413 h 4332913"/>
                  <a:gd name="connsiteX13" fmla="*/ 939597 w 3418224"/>
                  <a:gd name="connsiteY13" fmla="*/ 1373265 h 4332913"/>
                  <a:gd name="connsiteX14" fmla="*/ 0 w 3418224"/>
                  <a:gd name="connsiteY14" fmla="*/ 201127 h 4332913"/>
                  <a:gd name="connsiteX15" fmla="*/ 220556 w 3418224"/>
                  <a:gd name="connsiteY15" fmla="*/ 44998 h 4332913"/>
                  <a:gd name="connsiteX16" fmla="*/ 1320453 w 3418224"/>
                  <a:gd name="connsiteY16" fmla="*/ 1075864 h 4332913"/>
                  <a:gd name="connsiteX0" fmla="*/ 1320453 w 3418224"/>
                  <a:gd name="connsiteY0" fmla="*/ 1075864 h 4332913"/>
                  <a:gd name="connsiteX1" fmla="*/ 2287227 w 3418224"/>
                  <a:gd name="connsiteY1" fmla="*/ 1084686 h 4332913"/>
                  <a:gd name="connsiteX2" fmla="*/ 3418224 w 3418224"/>
                  <a:gd name="connsiteY2" fmla="*/ 1734288 h 4332913"/>
                  <a:gd name="connsiteX3" fmla="*/ 3252959 w 3418224"/>
                  <a:gd name="connsiteY3" fmla="*/ 1989308 h 4332913"/>
                  <a:gd name="connsiteX4" fmla="*/ 2267473 w 3418224"/>
                  <a:gd name="connsiteY4" fmla="*/ 1511810 h 4332913"/>
                  <a:gd name="connsiteX5" fmla="*/ 2156284 w 3418224"/>
                  <a:gd name="connsiteY5" fmla="*/ 1545992 h 4332913"/>
                  <a:gd name="connsiteX6" fmla="*/ 2168211 w 3418224"/>
                  <a:gd name="connsiteY6" fmla="*/ 2761288 h 4332913"/>
                  <a:gd name="connsiteX7" fmla="*/ 2002476 w 3418224"/>
                  <a:gd name="connsiteY7" fmla="*/ 4247188 h 4332913"/>
                  <a:gd name="connsiteX8" fmla="*/ 1905321 w 3418224"/>
                  <a:gd name="connsiteY8" fmla="*/ 4332913 h 4332913"/>
                  <a:gd name="connsiteX9" fmla="*/ 1402401 w 3418224"/>
                  <a:gd name="connsiteY9" fmla="*/ 4332913 h 4332913"/>
                  <a:gd name="connsiteX10" fmla="*/ 1305246 w 3418224"/>
                  <a:gd name="connsiteY10" fmla="*/ 4201468 h 4332913"/>
                  <a:gd name="connsiteX11" fmla="*/ 1156656 w 3418224"/>
                  <a:gd name="connsiteY11" fmla="*/ 2709853 h 4332913"/>
                  <a:gd name="connsiteX12" fmla="*/ 1150941 w 3418224"/>
                  <a:gd name="connsiteY12" fmla="*/ 1475413 h 4332913"/>
                  <a:gd name="connsiteX13" fmla="*/ 939597 w 3418224"/>
                  <a:gd name="connsiteY13" fmla="*/ 1373265 h 4332913"/>
                  <a:gd name="connsiteX14" fmla="*/ 0 w 3418224"/>
                  <a:gd name="connsiteY14" fmla="*/ 201127 h 4332913"/>
                  <a:gd name="connsiteX15" fmla="*/ 220556 w 3418224"/>
                  <a:gd name="connsiteY15" fmla="*/ 44998 h 4332913"/>
                  <a:gd name="connsiteX16" fmla="*/ 1320453 w 3418224"/>
                  <a:gd name="connsiteY16" fmla="*/ 1075864 h 4332913"/>
                  <a:gd name="connsiteX0" fmla="*/ 1320453 w 3418224"/>
                  <a:gd name="connsiteY0" fmla="*/ 1075864 h 4332913"/>
                  <a:gd name="connsiteX1" fmla="*/ 2287227 w 3418224"/>
                  <a:gd name="connsiteY1" fmla="*/ 1084686 h 4332913"/>
                  <a:gd name="connsiteX2" fmla="*/ 3418224 w 3418224"/>
                  <a:gd name="connsiteY2" fmla="*/ 1734288 h 4332913"/>
                  <a:gd name="connsiteX3" fmla="*/ 3252959 w 3418224"/>
                  <a:gd name="connsiteY3" fmla="*/ 1989308 h 4332913"/>
                  <a:gd name="connsiteX4" fmla="*/ 2267473 w 3418224"/>
                  <a:gd name="connsiteY4" fmla="*/ 1511810 h 4332913"/>
                  <a:gd name="connsiteX5" fmla="*/ 2156284 w 3418224"/>
                  <a:gd name="connsiteY5" fmla="*/ 1545992 h 4332913"/>
                  <a:gd name="connsiteX6" fmla="*/ 2168211 w 3418224"/>
                  <a:gd name="connsiteY6" fmla="*/ 2761288 h 4332913"/>
                  <a:gd name="connsiteX7" fmla="*/ 2002476 w 3418224"/>
                  <a:gd name="connsiteY7" fmla="*/ 4247188 h 4332913"/>
                  <a:gd name="connsiteX8" fmla="*/ 1905321 w 3418224"/>
                  <a:gd name="connsiteY8" fmla="*/ 4332913 h 4332913"/>
                  <a:gd name="connsiteX9" fmla="*/ 1402401 w 3418224"/>
                  <a:gd name="connsiteY9" fmla="*/ 4332913 h 4332913"/>
                  <a:gd name="connsiteX10" fmla="*/ 1305246 w 3418224"/>
                  <a:gd name="connsiteY10" fmla="*/ 4201468 h 4332913"/>
                  <a:gd name="connsiteX11" fmla="*/ 1156656 w 3418224"/>
                  <a:gd name="connsiteY11" fmla="*/ 2709853 h 4332913"/>
                  <a:gd name="connsiteX12" fmla="*/ 1150941 w 3418224"/>
                  <a:gd name="connsiteY12" fmla="*/ 1475413 h 4332913"/>
                  <a:gd name="connsiteX13" fmla="*/ 939597 w 3418224"/>
                  <a:gd name="connsiteY13" fmla="*/ 1373265 h 4332913"/>
                  <a:gd name="connsiteX14" fmla="*/ 0 w 3418224"/>
                  <a:gd name="connsiteY14" fmla="*/ 201127 h 4332913"/>
                  <a:gd name="connsiteX15" fmla="*/ 220556 w 3418224"/>
                  <a:gd name="connsiteY15" fmla="*/ 44998 h 4332913"/>
                  <a:gd name="connsiteX16" fmla="*/ 1320453 w 3418224"/>
                  <a:gd name="connsiteY16" fmla="*/ 1075864 h 4332913"/>
                  <a:gd name="connsiteX0" fmla="*/ 1320453 w 3349089"/>
                  <a:gd name="connsiteY0" fmla="*/ 1089250 h 4346299"/>
                  <a:gd name="connsiteX1" fmla="*/ 2287227 w 3349089"/>
                  <a:gd name="connsiteY1" fmla="*/ 1098072 h 4346299"/>
                  <a:gd name="connsiteX2" fmla="*/ 3173654 w 3349089"/>
                  <a:gd name="connsiteY2" fmla="*/ 157977 h 4346299"/>
                  <a:gd name="connsiteX3" fmla="*/ 3252959 w 3349089"/>
                  <a:gd name="connsiteY3" fmla="*/ 2002694 h 4346299"/>
                  <a:gd name="connsiteX4" fmla="*/ 2267473 w 3349089"/>
                  <a:gd name="connsiteY4" fmla="*/ 1525196 h 4346299"/>
                  <a:gd name="connsiteX5" fmla="*/ 2156284 w 3349089"/>
                  <a:gd name="connsiteY5" fmla="*/ 1559378 h 4346299"/>
                  <a:gd name="connsiteX6" fmla="*/ 2168211 w 3349089"/>
                  <a:gd name="connsiteY6" fmla="*/ 2774674 h 4346299"/>
                  <a:gd name="connsiteX7" fmla="*/ 2002476 w 3349089"/>
                  <a:gd name="connsiteY7" fmla="*/ 4260574 h 4346299"/>
                  <a:gd name="connsiteX8" fmla="*/ 1905321 w 3349089"/>
                  <a:gd name="connsiteY8" fmla="*/ 4346299 h 4346299"/>
                  <a:gd name="connsiteX9" fmla="*/ 1402401 w 3349089"/>
                  <a:gd name="connsiteY9" fmla="*/ 4346299 h 4346299"/>
                  <a:gd name="connsiteX10" fmla="*/ 1305246 w 3349089"/>
                  <a:gd name="connsiteY10" fmla="*/ 4214854 h 4346299"/>
                  <a:gd name="connsiteX11" fmla="*/ 1156656 w 3349089"/>
                  <a:gd name="connsiteY11" fmla="*/ 2723239 h 4346299"/>
                  <a:gd name="connsiteX12" fmla="*/ 1150941 w 3349089"/>
                  <a:gd name="connsiteY12" fmla="*/ 1488799 h 4346299"/>
                  <a:gd name="connsiteX13" fmla="*/ 939597 w 3349089"/>
                  <a:gd name="connsiteY13" fmla="*/ 1386651 h 4346299"/>
                  <a:gd name="connsiteX14" fmla="*/ 0 w 3349089"/>
                  <a:gd name="connsiteY14" fmla="*/ 214513 h 4346299"/>
                  <a:gd name="connsiteX15" fmla="*/ 220556 w 3349089"/>
                  <a:gd name="connsiteY15" fmla="*/ 58384 h 4346299"/>
                  <a:gd name="connsiteX16" fmla="*/ 1320453 w 3349089"/>
                  <a:gd name="connsiteY16" fmla="*/ 1089250 h 4346299"/>
                  <a:gd name="connsiteX0" fmla="*/ 1320453 w 3401497"/>
                  <a:gd name="connsiteY0" fmla="*/ 1089250 h 4346299"/>
                  <a:gd name="connsiteX1" fmla="*/ 2287227 w 3401497"/>
                  <a:gd name="connsiteY1" fmla="*/ 1098072 h 4346299"/>
                  <a:gd name="connsiteX2" fmla="*/ 3173654 w 3401497"/>
                  <a:gd name="connsiteY2" fmla="*/ 157977 h 4346299"/>
                  <a:gd name="connsiteX3" fmla="*/ 3305367 w 3401497"/>
                  <a:gd name="connsiteY3" fmla="*/ 325650 h 4346299"/>
                  <a:gd name="connsiteX4" fmla="*/ 2267473 w 3401497"/>
                  <a:gd name="connsiteY4" fmla="*/ 1525196 h 4346299"/>
                  <a:gd name="connsiteX5" fmla="*/ 2156284 w 3401497"/>
                  <a:gd name="connsiteY5" fmla="*/ 1559378 h 4346299"/>
                  <a:gd name="connsiteX6" fmla="*/ 2168211 w 3401497"/>
                  <a:gd name="connsiteY6" fmla="*/ 2774674 h 4346299"/>
                  <a:gd name="connsiteX7" fmla="*/ 2002476 w 3401497"/>
                  <a:gd name="connsiteY7" fmla="*/ 4260574 h 4346299"/>
                  <a:gd name="connsiteX8" fmla="*/ 1905321 w 3401497"/>
                  <a:gd name="connsiteY8" fmla="*/ 4346299 h 4346299"/>
                  <a:gd name="connsiteX9" fmla="*/ 1402401 w 3401497"/>
                  <a:gd name="connsiteY9" fmla="*/ 4346299 h 4346299"/>
                  <a:gd name="connsiteX10" fmla="*/ 1305246 w 3401497"/>
                  <a:gd name="connsiteY10" fmla="*/ 4214854 h 4346299"/>
                  <a:gd name="connsiteX11" fmla="*/ 1156656 w 3401497"/>
                  <a:gd name="connsiteY11" fmla="*/ 2723239 h 4346299"/>
                  <a:gd name="connsiteX12" fmla="*/ 1150941 w 3401497"/>
                  <a:gd name="connsiteY12" fmla="*/ 1488799 h 4346299"/>
                  <a:gd name="connsiteX13" fmla="*/ 939597 w 3401497"/>
                  <a:gd name="connsiteY13" fmla="*/ 1386651 h 4346299"/>
                  <a:gd name="connsiteX14" fmla="*/ 0 w 3401497"/>
                  <a:gd name="connsiteY14" fmla="*/ 214513 h 4346299"/>
                  <a:gd name="connsiteX15" fmla="*/ 220556 w 3401497"/>
                  <a:gd name="connsiteY15" fmla="*/ 58384 h 4346299"/>
                  <a:gd name="connsiteX16" fmla="*/ 1320453 w 3401497"/>
                  <a:gd name="connsiteY16" fmla="*/ 1089250 h 4346299"/>
                  <a:gd name="connsiteX0" fmla="*/ 1320453 w 3394509"/>
                  <a:gd name="connsiteY0" fmla="*/ 1089250 h 4346299"/>
                  <a:gd name="connsiteX1" fmla="*/ 2287227 w 3394509"/>
                  <a:gd name="connsiteY1" fmla="*/ 1098072 h 4346299"/>
                  <a:gd name="connsiteX2" fmla="*/ 3173654 w 3394509"/>
                  <a:gd name="connsiteY2" fmla="*/ 157977 h 4346299"/>
                  <a:gd name="connsiteX3" fmla="*/ 3305367 w 3394509"/>
                  <a:gd name="connsiteY3" fmla="*/ 325650 h 4346299"/>
                  <a:gd name="connsiteX4" fmla="*/ 2267473 w 3394509"/>
                  <a:gd name="connsiteY4" fmla="*/ 1525196 h 4346299"/>
                  <a:gd name="connsiteX5" fmla="*/ 2156284 w 3394509"/>
                  <a:gd name="connsiteY5" fmla="*/ 1559378 h 4346299"/>
                  <a:gd name="connsiteX6" fmla="*/ 2168211 w 3394509"/>
                  <a:gd name="connsiteY6" fmla="*/ 2774674 h 4346299"/>
                  <a:gd name="connsiteX7" fmla="*/ 2002476 w 3394509"/>
                  <a:gd name="connsiteY7" fmla="*/ 4260574 h 4346299"/>
                  <a:gd name="connsiteX8" fmla="*/ 1905321 w 3394509"/>
                  <a:gd name="connsiteY8" fmla="*/ 4346299 h 4346299"/>
                  <a:gd name="connsiteX9" fmla="*/ 1402401 w 3394509"/>
                  <a:gd name="connsiteY9" fmla="*/ 4346299 h 4346299"/>
                  <a:gd name="connsiteX10" fmla="*/ 1305246 w 3394509"/>
                  <a:gd name="connsiteY10" fmla="*/ 4214854 h 4346299"/>
                  <a:gd name="connsiteX11" fmla="*/ 1156656 w 3394509"/>
                  <a:gd name="connsiteY11" fmla="*/ 2723239 h 4346299"/>
                  <a:gd name="connsiteX12" fmla="*/ 1150941 w 3394509"/>
                  <a:gd name="connsiteY12" fmla="*/ 1488799 h 4346299"/>
                  <a:gd name="connsiteX13" fmla="*/ 939597 w 3394509"/>
                  <a:gd name="connsiteY13" fmla="*/ 1386651 h 4346299"/>
                  <a:gd name="connsiteX14" fmla="*/ 0 w 3394509"/>
                  <a:gd name="connsiteY14" fmla="*/ 214513 h 4346299"/>
                  <a:gd name="connsiteX15" fmla="*/ 220556 w 3394509"/>
                  <a:gd name="connsiteY15" fmla="*/ 58384 h 4346299"/>
                  <a:gd name="connsiteX16" fmla="*/ 1320453 w 3394509"/>
                  <a:gd name="connsiteY16" fmla="*/ 1089250 h 4346299"/>
                  <a:gd name="connsiteX0" fmla="*/ 1320453 w 3394509"/>
                  <a:gd name="connsiteY0" fmla="*/ 1089250 h 4346299"/>
                  <a:gd name="connsiteX1" fmla="*/ 2143979 w 3394509"/>
                  <a:gd name="connsiteY1" fmla="*/ 1087590 h 4346299"/>
                  <a:gd name="connsiteX2" fmla="*/ 3173654 w 3394509"/>
                  <a:gd name="connsiteY2" fmla="*/ 157977 h 4346299"/>
                  <a:gd name="connsiteX3" fmla="*/ 3305367 w 3394509"/>
                  <a:gd name="connsiteY3" fmla="*/ 325650 h 4346299"/>
                  <a:gd name="connsiteX4" fmla="*/ 2267473 w 3394509"/>
                  <a:gd name="connsiteY4" fmla="*/ 1525196 h 4346299"/>
                  <a:gd name="connsiteX5" fmla="*/ 2156284 w 3394509"/>
                  <a:gd name="connsiteY5" fmla="*/ 1559378 h 4346299"/>
                  <a:gd name="connsiteX6" fmla="*/ 2168211 w 3394509"/>
                  <a:gd name="connsiteY6" fmla="*/ 2774674 h 4346299"/>
                  <a:gd name="connsiteX7" fmla="*/ 2002476 w 3394509"/>
                  <a:gd name="connsiteY7" fmla="*/ 4260574 h 4346299"/>
                  <a:gd name="connsiteX8" fmla="*/ 1905321 w 3394509"/>
                  <a:gd name="connsiteY8" fmla="*/ 4346299 h 4346299"/>
                  <a:gd name="connsiteX9" fmla="*/ 1402401 w 3394509"/>
                  <a:gd name="connsiteY9" fmla="*/ 4346299 h 4346299"/>
                  <a:gd name="connsiteX10" fmla="*/ 1305246 w 3394509"/>
                  <a:gd name="connsiteY10" fmla="*/ 4214854 h 4346299"/>
                  <a:gd name="connsiteX11" fmla="*/ 1156656 w 3394509"/>
                  <a:gd name="connsiteY11" fmla="*/ 2723239 h 4346299"/>
                  <a:gd name="connsiteX12" fmla="*/ 1150941 w 3394509"/>
                  <a:gd name="connsiteY12" fmla="*/ 1488799 h 4346299"/>
                  <a:gd name="connsiteX13" fmla="*/ 939597 w 3394509"/>
                  <a:gd name="connsiteY13" fmla="*/ 1386651 h 4346299"/>
                  <a:gd name="connsiteX14" fmla="*/ 0 w 3394509"/>
                  <a:gd name="connsiteY14" fmla="*/ 214513 h 4346299"/>
                  <a:gd name="connsiteX15" fmla="*/ 220556 w 3394509"/>
                  <a:gd name="connsiteY15" fmla="*/ 58384 h 4346299"/>
                  <a:gd name="connsiteX16" fmla="*/ 1320453 w 3394509"/>
                  <a:gd name="connsiteY16" fmla="*/ 1089250 h 4346299"/>
                  <a:gd name="connsiteX0" fmla="*/ 1320453 w 3394509"/>
                  <a:gd name="connsiteY0" fmla="*/ 1089250 h 4346299"/>
                  <a:gd name="connsiteX1" fmla="*/ 2143979 w 3394509"/>
                  <a:gd name="connsiteY1" fmla="*/ 1087590 h 4346299"/>
                  <a:gd name="connsiteX2" fmla="*/ 3173654 w 3394509"/>
                  <a:gd name="connsiteY2" fmla="*/ 157977 h 4346299"/>
                  <a:gd name="connsiteX3" fmla="*/ 3305367 w 3394509"/>
                  <a:gd name="connsiteY3" fmla="*/ 325650 h 4346299"/>
                  <a:gd name="connsiteX4" fmla="*/ 2267473 w 3394509"/>
                  <a:gd name="connsiteY4" fmla="*/ 1525196 h 4346299"/>
                  <a:gd name="connsiteX5" fmla="*/ 2156284 w 3394509"/>
                  <a:gd name="connsiteY5" fmla="*/ 1559378 h 4346299"/>
                  <a:gd name="connsiteX6" fmla="*/ 2168211 w 3394509"/>
                  <a:gd name="connsiteY6" fmla="*/ 2774674 h 4346299"/>
                  <a:gd name="connsiteX7" fmla="*/ 2002476 w 3394509"/>
                  <a:gd name="connsiteY7" fmla="*/ 4260574 h 4346299"/>
                  <a:gd name="connsiteX8" fmla="*/ 1905321 w 3394509"/>
                  <a:gd name="connsiteY8" fmla="*/ 4346299 h 4346299"/>
                  <a:gd name="connsiteX9" fmla="*/ 1402401 w 3394509"/>
                  <a:gd name="connsiteY9" fmla="*/ 4346299 h 4346299"/>
                  <a:gd name="connsiteX10" fmla="*/ 1305246 w 3394509"/>
                  <a:gd name="connsiteY10" fmla="*/ 4214854 h 4346299"/>
                  <a:gd name="connsiteX11" fmla="*/ 1156656 w 3394509"/>
                  <a:gd name="connsiteY11" fmla="*/ 2723239 h 4346299"/>
                  <a:gd name="connsiteX12" fmla="*/ 1150941 w 3394509"/>
                  <a:gd name="connsiteY12" fmla="*/ 1488799 h 4346299"/>
                  <a:gd name="connsiteX13" fmla="*/ 939597 w 3394509"/>
                  <a:gd name="connsiteY13" fmla="*/ 1386651 h 4346299"/>
                  <a:gd name="connsiteX14" fmla="*/ 0 w 3394509"/>
                  <a:gd name="connsiteY14" fmla="*/ 214513 h 4346299"/>
                  <a:gd name="connsiteX15" fmla="*/ 220556 w 3394509"/>
                  <a:gd name="connsiteY15" fmla="*/ 58384 h 4346299"/>
                  <a:gd name="connsiteX16" fmla="*/ 1320453 w 3394509"/>
                  <a:gd name="connsiteY16" fmla="*/ 1089250 h 4346299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73654 w 3394509"/>
                  <a:gd name="connsiteY2" fmla="*/ 144591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05367"/>
                  <a:gd name="connsiteY0" fmla="*/ 1075864 h 4332913"/>
                  <a:gd name="connsiteX1" fmla="*/ 2143979 w 3305367"/>
                  <a:gd name="connsiteY1" fmla="*/ 1074204 h 4332913"/>
                  <a:gd name="connsiteX2" fmla="*/ 3117752 w 3305367"/>
                  <a:gd name="connsiteY2" fmla="*/ 137604 h 4332913"/>
                  <a:gd name="connsiteX3" fmla="*/ 3305367 w 3305367"/>
                  <a:gd name="connsiteY3" fmla="*/ 312264 h 4332913"/>
                  <a:gd name="connsiteX4" fmla="*/ 2267473 w 3305367"/>
                  <a:gd name="connsiteY4" fmla="*/ 1511810 h 4332913"/>
                  <a:gd name="connsiteX5" fmla="*/ 2156284 w 3305367"/>
                  <a:gd name="connsiteY5" fmla="*/ 1545992 h 4332913"/>
                  <a:gd name="connsiteX6" fmla="*/ 2168211 w 3305367"/>
                  <a:gd name="connsiteY6" fmla="*/ 2761288 h 4332913"/>
                  <a:gd name="connsiteX7" fmla="*/ 2002476 w 3305367"/>
                  <a:gd name="connsiteY7" fmla="*/ 4247188 h 4332913"/>
                  <a:gd name="connsiteX8" fmla="*/ 1905321 w 3305367"/>
                  <a:gd name="connsiteY8" fmla="*/ 4332913 h 4332913"/>
                  <a:gd name="connsiteX9" fmla="*/ 1402401 w 3305367"/>
                  <a:gd name="connsiteY9" fmla="*/ 4332913 h 4332913"/>
                  <a:gd name="connsiteX10" fmla="*/ 1305246 w 3305367"/>
                  <a:gd name="connsiteY10" fmla="*/ 4201468 h 4332913"/>
                  <a:gd name="connsiteX11" fmla="*/ 1156656 w 3305367"/>
                  <a:gd name="connsiteY11" fmla="*/ 2709853 h 4332913"/>
                  <a:gd name="connsiteX12" fmla="*/ 1150941 w 3305367"/>
                  <a:gd name="connsiteY12" fmla="*/ 1475413 h 4332913"/>
                  <a:gd name="connsiteX13" fmla="*/ 939597 w 3305367"/>
                  <a:gd name="connsiteY13" fmla="*/ 1373265 h 4332913"/>
                  <a:gd name="connsiteX14" fmla="*/ 0 w 3305367"/>
                  <a:gd name="connsiteY14" fmla="*/ 201127 h 4332913"/>
                  <a:gd name="connsiteX15" fmla="*/ 220556 w 3305367"/>
                  <a:gd name="connsiteY15" fmla="*/ 44998 h 4332913"/>
                  <a:gd name="connsiteX16" fmla="*/ 1320453 w 3305367"/>
                  <a:gd name="connsiteY16" fmla="*/ 1075864 h 4332913"/>
                  <a:gd name="connsiteX0" fmla="*/ 1320453 w 3305367"/>
                  <a:gd name="connsiteY0" fmla="*/ 1075864 h 4332913"/>
                  <a:gd name="connsiteX1" fmla="*/ 2143979 w 3305367"/>
                  <a:gd name="connsiteY1" fmla="*/ 1074204 h 4332913"/>
                  <a:gd name="connsiteX2" fmla="*/ 3117752 w 3305367"/>
                  <a:gd name="connsiteY2" fmla="*/ 137604 h 4332913"/>
                  <a:gd name="connsiteX3" fmla="*/ 3305367 w 3305367"/>
                  <a:gd name="connsiteY3" fmla="*/ 312264 h 4332913"/>
                  <a:gd name="connsiteX4" fmla="*/ 2267473 w 3305367"/>
                  <a:gd name="connsiteY4" fmla="*/ 1511810 h 4332913"/>
                  <a:gd name="connsiteX5" fmla="*/ 2156284 w 3305367"/>
                  <a:gd name="connsiteY5" fmla="*/ 1545992 h 4332913"/>
                  <a:gd name="connsiteX6" fmla="*/ 2168211 w 3305367"/>
                  <a:gd name="connsiteY6" fmla="*/ 2761288 h 4332913"/>
                  <a:gd name="connsiteX7" fmla="*/ 2002476 w 3305367"/>
                  <a:gd name="connsiteY7" fmla="*/ 4247188 h 4332913"/>
                  <a:gd name="connsiteX8" fmla="*/ 1905321 w 3305367"/>
                  <a:gd name="connsiteY8" fmla="*/ 4332913 h 4332913"/>
                  <a:gd name="connsiteX9" fmla="*/ 1402401 w 3305367"/>
                  <a:gd name="connsiteY9" fmla="*/ 4332913 h 4332913"/>
                  <a:gd name="connsiteX10" fmla="*/ 1305246 w 3305367"/>
                  <a:gd name="connsiteY10" fmla="*/ 4201468 h 4332913"/>
                  <a:gd name="connsiteX11" fmla="*/ 1156656 w 3305367"/>
                  <a:gd name="connsiteY11" fmla="*/ 2709853 h 4332913"/>
                  <a:gd name="connsiteX12" fmla="*/ 1150941 w 3305367"/>
                  <a:gd name="connsiteY12" fmla="*/ 1475413 h 4332913"/>
                  <a:gd name="connsiteX13" fmla="*/ 939597 w 3305367"/>
                  <a:gd name="connsiteY13" fmla="*/ 1373265 h 4332913"/>
                  <a:gd name="connsiteX14" fmla="*/ 0 w 3305367"/>
                  <a:gd name="connsiteY14" fmla="*/ 201127 h 4332913"/>
                  <a:gd name="connsiteX15" fmla="*/ 220556 w 3305367"/>
                  <a:gd name="connsiteY15" fmla="*/ 44998 h 4332913"/>
                  <a:gd name="connsiteX16" fmla="*/ 1320453 w 3305367"/>
                  <a:gd name="connsiteY16" fmla="*/ 1075864 h 4332913"/>
                  <a:gd name="connsiteX0" fmla="*/ 1320453 w 3287897"/>
                  <a:gd name="connsiteY0" fmla="*/ 1075864 h 4332913"/>
                  <a:gd name="connsiteX1" fmla="*/ 2143979 w 3287897"/>
                  <a:gd name="connsiteY1" fmla="*/ 1074204 h 4332913"/>
                  <a:gd name="connsiteX2" fmla="*/ 3117752 w 3287897"/>
                  <a:gd name="connsiteY2" fmla="*/ 137604 h 4332913"/>
                  <a:gd name="connsiteX3" fmla="*/ 3287897 w 3287897"/>
                  <a:gd name="connsiteY3" fmla="*/ 280819 h 4332913"/>
                  <a:gd name="connsiteX4" fmla="*/ 2267473 w 3287897"/>
                  <a:gd name="connsiteY4" fmla="*/ 1511810 h 4332913"/>
                  <a:gd name="connsiteX5" fmla="*/ 2156284 w 3287897"/>
                  <a:gd name="connsiteY5" fmla="*/ 1545992 h 4332913"/>
                  <a:gd name="connsiteX6" fmla="*/ 2168211 w 3287897"/>
                  <a:gd name="connsiteY6" fmla="*/ 2761288 h 4332913"/>
                  <a:gd name="connsiteX7" fmla="*/ 2002476 w 3287897"/>
                  <a:gd name="connsiteY7" fmla="*/ 4247188 h 4332913"/>
                  <a:gd name="connsiteX8" fmla="*/ 1905321 w 3287897"/>
                  <a:gd name="connsiteY8" fmla="*/ 4332913 h 4332913"/>
                  <a:gd name="connsiteX9" fmla="*/ 1402401 w 3287897"/>
                  <a:gd name="connsiteY9" fmla="*/ 4332913 h 4332913"/>
                  <a:gd name="connsiteX10" fmla="*/ 1305246 w 3287897"/>
                  <a:gd name="connsiteY10" fmla="*/ 4201468 h 4332913"/>
                  <a:gd name="connsiteX11" fmla="*/ 1156656 w 3287897"/>
                  <a:gd name="connsiteY11" fmla="*/ 2709853 h 4332913"/>
                  <a:gd name="connsiteX12" fmla="*/ 1150941 w 3287897"/>
                  <a:gd name="connsiteY12" fmla="*/ 1475413 h 4332913"/>
                  <a:gd name="connsiteX13" fmla="*/ 939597 w 3287897"/>
                  <a:gd name="connsiteY13" fmla="*/ 1373265 h 4332913"/>
                  <a:gd name="connsiteX14" fmla="*/ 0 w 3287897"/>
                  <a:gd name="connsiteY14" fmla="*/ 201127 h 4332913"/>
                  <a:gd name="connsiteX15" fmla="*/ 220556 w 3287897"/>
                  <a:gd name="connsiteY15" fmla="*/ 44998 h 4332913"/>
                  <a:gd name="connsiteX16" fmla="*/ 1320453 w 3287897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267473 w 3301872"/>
                  <a:gd name="connsiteY4" fmla="*/ 151181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267473 w 3301872"/>
                  <a:gd name="connsiteY4" fmla="*/ 151181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18448 w 3301872"/>
                  <a:gd name="connsiteY4" fmla="*/ 143167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18448 w 3301872"/>
                  <a:gd name="connsiteY4" fmla="*/ 143167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18448 w 3301872"/>
                  <a:gd name="connsiteY4" fmla="*/ 143167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08480 w 3301872"/>
                  <a:gd name="connsiteY4" fmla="*/ 1428347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08480 w 3301872"/>
                  <a:gd name="connsiteY4" fmla="*/ 1428347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58204"/>
                  <a:gd name="connsiteY0" fmla="*/ 1075864 h 4332913"/>
                  <a:gd name="connsiteX1" fmla="*/ 2143979 w 3358204"/>
                  <a:gd name="connsiteY1" fmla="*/ 1074204 h 4332913"/>
                  <a:gd name="connsiteX2" fmla="*/ 3117752 w 3358204"/>
                  <a:gd name="connsiteY2" fmla="*/ 137604 h 4332913"/>
                  <a:gd name="connsiteX3" fmla="*/ 3358204 w 3358204"/>
                  <a:gd name="connsiteY3" fmla="*/ 200384 h 4332913"/>
                  <a:gd name="connsiteX4" fmla="*/ 2308480 w 3358204"/>
                  <a:gd name="connsiteY4" fmla="*/ 1428347 h 4332913"/>
                  <a:gd name="connsiteX5" fmla="*/ 2156284 w 3358204"/>
                  <a:gd name="connsiteY5" fmla="*/ 1545992 h 4332913"/>
                  <a:gd name="connsiteX6" fmla="*/ 2168211 w 3358204"/>
                  <a:gd name="connsiteY6" fmla="*/ 2761288 h 4332913"/>
                  <a:gd name="connsiteX7" fmla="*/ 2002476 w 3358204"/>
                  <a:gd name="connsiteY7" fmla="*/ 4247188 h 4332913"/>
                  <a:gd name="connsiteX8" fmla="*/ 1905321 w 3358204"/>
                  <a:gd name="connsiteY8" fmla="*/ 4332913 h 4332913"/>
                  <a:gd name="connsiteX9" fmla="*/ 1402401 w 3358204"/>
                  <a:gd name="connsiteY9" fmla="*/ 4332913 h 4332913"/>
                  <a:gd name="connsiteX10" fmla="*/ 1305246 w 3358204"/>
                  <a:gd name="connsiteY10" fmla="*/ 4201468 h 4332913"/>
                  <a:gd name="connsiteX11" fmla="*/ 1156656 w 3358204"/>
                  <a:gd name="connsiteY11" fmla="*/ 2709853 h 4332913"/>
                  <a:gd name="connsiteX12" fmla="*/ 1150941 w 3358204"/>
                  <a:gd name="connsiteY12" fmla="*/ 1475413 h 4332913"/>
                  <a:gd name="connsiteX13" fmla="*/ 939597 w 3358204"/>
                  <a:gd name="connsiteY13" fmla="*/ 1373265 h 4332913"/>
                  <a:gd name="connsiteX14" fmla="*/ 0 w 3358204"/>
                  <a:gd name="connsiteY14" fmla="*/ 201127 h 4332913"/>
                  <a:gd name="connsiteX15" fmla="*/ 220556 w 3358204"/>
                  <a:gd name="connsiteY15" fmla="*/ 44998 h 4332913"/>
                  <a:gd name="connsiteX16" fmla="*/ 1320453 w 3358204"/>
                  <a:gd name="connsiteY16" fmla="*/ 1075864 h 4332913"/>
                  <a:gd name="connsiteX0" fmla="*/ 1320453 w 3358204"/>
                  <a:gd name="connsiteY0" fmla="*/ 1075864 h 4332913"/>
                  <a:gd name="connsiteX1" fmla="*/ 2143979 w 3358204"/>
                  <a:gd name="connsiteY1" fmla="*/ 1074204 h 4332913"/>
                  <a:gd name="connsiteX2" fmla="*/ 3159063 w 3358204"/>
                  <a:gd name="connsiteY2" fmla="*/ 73761 h 4332913"/>
                  <a:gd name="connsiteX3" fmla="*/ 3358204 w 3358204"/>
                  <a:gd name="connsiteY3" fmla="*/ 200384 h 4332913"/>
                  <a:gd name="connsiteX4" fmla="*/ 2308480 w 3358204"/>
                  <a:gd name="connsiteY4" fmla="*/ 1428347 h 4332913"/>
                  <a:gd name="connsiteX5" fmla="*/ 2156284 w 3358204"/>
                  <a:gd name="connsiteY5" fmla="*/ 1545992 h 4332913"/>
                  <a:gd name="connsiteX6" fmla="*/ 2168211 w 3358204"/>
                  <a:gd name="connsiteY6" fmla="*/ 2761288 h 4332913"/>
                  <a:gd name="connsiteX7" fmla="*/ 2002476 w 3358204"/>
                  <a:gd name="connsiteY7" fmla="*/ 4247188 h 4332913"/>
                  <a:gd name="connsiteX8" fmla="*/ 1905321 w 3358204"/>
                  <a:gd name="connsiteY8" fmla="*/ 4332913 h 4332913"/>
                  <a:gd name="connsiteX9" fmla="*/ 1402401 w 3358204"/>
                  <a:gd name="connsiteY9" fmla="*/ 4332913 h 4332913"/>
                  <a:gd name="connsiteX10" fmla="*/ 1305246 w 3358204"/>
                  <a:gd name="connsiteY10" fmla="*/ 4201468 h 4332913"/>
                  <a:gd name="connsiteX11" fmla="*/ 1156656 w 3358204"/>
                  <a:gd name="connsiteY11" fmla="*/ 2709853 h 4332913"/>
                  <a:gd name="connsiteX12" fmla="*/ 1150941 w 3358204"/>
                  <a:gd name="connsiteY12" fmla="*/ 1475413 h 4332913"/>
                  <a:gd name="connsiteX13" fmla="*/ 939597 w 3358204"/>
                  <a:gd name="connsiteY13" fmla="*/ 1373265 h 4332913"/>
                  <a:gd name="connsiteX14" fmla="*/ 0 w 3358204"/>
                  <a:gd name="connsiteY14" fmla="*/ 201127 h 4332913"/>
                  <a:gd name="connsiteX15" fmla="*/ 220556 w 3358204"/>
                  <a:gd name="connsiteY15" fmla="*/ 44998 h 4332913"/>
                  <a:gd name="connsiteX16" fmla="*/ 1320453 w 3358204"/>
                  <a:gd name="connsiteY16" fmla="*/ 1075864 h 4332913"/>
                  <a:gd name="connsiteX0" fmla="*/ 1320453 w 3290606"/>
                  <a:gd name="connsiteY0" fmla="*/ 1075864 h 4332913"/>
                  <a:gd name="connsiteX1" fmla="*/ 2143979 w 3290606"/>
                  <a:gd name="connsiteY1" fmla="*/ 1074204 h 4332913"/>
                  <a:gd name="connsiteX2" fmla="*/ 3159063 w 3290606"/>
                  <a:gd name="connsiteY2" fmla="*/ 73761 h 4332913"/>
                  <a:gd name="connsiteX3" fmla="*/ 3290606 w 3290606"/>
                  <a:gd name="connsiteY3" fmla="*/ 125275 h 4332913"/>
                  <a:gd name="connsiteX4" fmla="*/ 2308480 w 3290606"/>
                  <a:gd name="connsiteY4" fmla="*/ 1428347 h 4332913"/>
                  <a:gd name="connsiteX5" fmla="*/ 2156284 w 3290606"/>
                  <a:gd name="connsiteY5" fmla="*/ 1545992 h 4332913"/>
                  <a:gd name="connsiteX6" fmla="*/ 2168211 w 3290606"/>
                  <a:gd name="connsiteY6" fmla="*/ 2761288 h 4332913"/>
                  <a:gd name="connsiteX7" fmla="*/ 2002476 w 3290606"/>
                  <a:gd name="connsiteY7" fmla="*/ 4247188 h 4332913"/>
                  <a:gd name="connsiteX8" fmla="*/ 1905321 w 3290606"/>
                  <a:gd name="connsiteY8" fmla="*/ 4332913 h 4332913"/>
                  <a:gd name="connsiteX9" fmla="*/ 1402401 w 3290606"/>
                  <a:gd name="connsiteY9" fmla="*/ 4332913 h 4332913"/>
                  <a:gd name="connsiteX10" fmla="*/ 1305246 w 3290606"/>
                  <a:gd name="connsiteY10" fmla="*/ 4201468 h 4332913"/>
                  <a:gd name="connsiteX11" fmla="*/ 1156656 w 3290606"/>
                  <a:gd name="connsiteY11" fmla="*/ 2709853 h 4332913"/>
                  <a:gd name="connsiteX12" fmla="*/ 1150941 w 3290606"/>
                  <a:gd name="connsiteY12" fmla="*/ 1475413 h 4332913"/>
                  <a:gd name="connsiteX13" fmla="*/ 939597 w 3290606"/>
                  <a:gd name="connsiteY13" fmla="*/ 1373265 h 4332913"/>
                  <a:gd name="connsiteX14" fmla="*/ 0 w 3290606"/>
                  <a:gd name="connsiteY14" fmla="*/ 201127 h 4332913"/>
                  <a:gd name="connsiteX15" fmla="*/ 220556 w 3290606"/>
                  <a:gd name="connsiteY15" fmla="*/ 44998 h 4332913"/>
                  <a:gd name="connsiteX16" fmla="*/ 1320453 w 3290606"/>
                  <a:gd name="connsiteY16" fmla="*/ 1075864 h 4332913"/>
                  <a:gd name="connsiteX0" fmla="*/ 1320453 w 3290606"/>
                  <a:gd name="connsiteY0" fmla="*/ 1075864 h 4332913"/>
                  <a:gd name="connsiteX1" fmla="*/ 2143979 w 3290606"/>
                  <a:gd name="connsiteY1" fmla="*/ 1074204 h 4332913"/>
                  <a:gd name="connsiteX2" fmla="*/ 3091465 w 3290606"/>
                  <a:gd name="connsiteY2" fmla="*/ 28695 h 4332913"/>
                  <a:gd name="connsiteX3" fmla="*/ 3290606 w 3290606"/>
                  <a:gd name="connsiteY3" fmla="*/ 125275 h 4332913"/>
                  <a:gd name="connsiteX4" fmla="*/ 2308480 w 3290606"/>
                  <a:gd name="connsiteY4" fmla="*/ 1428347 h 4332913"/>
                  <a:gd name="connsiteX5" fmla="*/ 2156284 w 3290606"/>
                  <a:gd name="connsiteY5" fmla="*/ 1545992 h 4332913"/>
                  <a:gd name="connsiteX6" fmla="*/ 2168211 w 3290606"/>
                  <a:gd name="connsiteY6" fmla="*/ 2761288 h 4332913"/>
                  <a:gd name="connsiteX7" fmla="*/ 2002476 w 3290606"/>
                  <a:gd name="connsiteY7" fmla="*/ 4247188 h 4332913"/>
                  <a:gd name="connsiteX8" fmla="*/ 1905321 w 3290606"/>
                  <a:gd name="connsiteY8" fmla="*/ 4332913 h 4332913"/>
                  <a:gd name="connsiteX9" fmla="*/ 1402401 w 3290606"/>
                  <a:gd name="connsiteY9" fmla="*/ 4332913 h 4332913"/>
                  <a:gd name="connsiteX10" fmla="*/ 1305246 w 3290606"/>
                  <a:gd name="connsiteY10" fmla="*/ 4201468 h 4332913"/>
                  <a:gd name="connsiteX11" fmla="*/ 1156656 w 3290606"/>
                  <a:gd name="connsiteY11" fmla="*/ 2709853 h 4332913"/>
                  <a:gd name="connsiteX12" fmla="*/ 1150941 w 3290606"/>
                  <a:gd name="connsiteY12" fmla="*/ 1475413 h 4332913"/>
                  <a:gd name="connsiteX13" fmla="*/ 939597 w 3290606"/>
                  <a:gd name="connsiteY13" fmla="*/ 1373265 h 4332913"/>
                  <a:gd name="connsiteX14" fmla="*/ 0 w 3290606"/>
                  <a:gd name="connsiteY14" fmla="*/ 201127 h 4332913"/>
                  <a:gd name="connsiteX15" fmla="*/ 220556 w 3290606"/>
                  <a:gd name="connsiteY15" fmla="*/ 44998 h 4332913"/>
                  <a:gd name="connsiteX16" fmla="*/ 1320453 w 3290606"/>
                  <a:gd name="connsiteY16" fmla="*/ 1075864 h 4332913"/>
                  <a:gd name="connsiteX0" fmla="*/ 1320453 w 3290606"/>
                  <a:gd name="connsiteY0" fmla="*/ 1188528 h 4445577"/>
                  <a:gd name="connsiteX1" fmla="*/ 2143979 w 3290606"/>
                  <a:gd name="connsiteY1" fmla="*/ 1186868 h 4445577"/>
                  <a:gd name="connsiteX2" fmla="*/ 3091465 w 3290606"/>
                  <a:gd name="connsiteY2" fmla="*/ 141359 h 4445577"/>
                  <a:gd name="connsiteX3" fmla="*/ 3290606 w 3290606"/>
                  <a:gd name="connsiteY3" fmla="*/ 237939 h 4445577"/>
                  <a:gd name="connsiteX4" fmla="*/ 2308480 w 3290606"/>
                  <a:gd name="connsiteY4" fmla="*/ 1541011 h 4445577"/>
                  <a:gd name="connsiteX5" fmla="*/ 2156284 w 3290606"/>
                  <a:gd name="connsiteY5" fmla="*/ 1658656 h 4445577"/>
                  <a:gd name="connsiteX6" fmla="*/ 2168211 w 3290606"/>
                  <a:gd name="connsiteY6" fmla="*/ 2873952 h 4445577"/>
                  <a:gd name="connsiteX7" fmla="*/ 2002476 w 3290606"/>
                  <a:gd name="connsiteY7" fmla="*/ 4359852 h 4445577"/>
                  <a:gd name="connsiteX8" fmla="*/ 1905321 w 3290606"/>
                  <a:gd name="connsiteY8" fmla="*/ 4445577 h 4445577"/>
                  <a:gd name="connsiteX9" fmla="*/ 1402401 w 3290606"/>
                  <a:gd name="connsiteY9" fmla="*/ 4445577 h 4445577"/>
                  <a:gd name="connsiteX10" fmla="*/ 1305246 w 3290606"/>
                  <a:gd name="connsiteY10" fmla="*/ 4314132 h 4445577"/>
                  <a:gd name="connsiteX11" fmla="*/ 1156656 w 3290606"/>
                  <a:gd name="connsiteY11" fmla="*/ 2822517 h 4445577"/>
                  <a:gd name="connsiteX12" fmla="*/ 1150941 w 3290606"/>
                  <a:gd name="connsiteY12" fmla="*/ 1588077 h 4445577"/>
                  <a:gd name="connsiteX13" fmla="*/ 939597 w 3290606"/>
                  <a:gd name="connsiteY13" fmla="*/ 1485929 h 4445577"/>
                  <a:gd name="connsiteX14" fmla="*/ 0 w 3290606"/>
                  <a:gd name="connsiteY14" fmla="*/ 313791 h 4445577"/>
                  <a:gd name="connsiteX15" fmla="*/ 382042 w 3290606"/>
                  <a:gd name="connsiteY15" fmla="*/ 44998 h 4445577"/>
                  <a:gd name="connsiteX16" fmla="*/ 1320453 w 3290606"/>
                  <a:gd name="connsiteY16" fmla="*/ 1188528 h 4445577"/>
                  <a:gd name="connsiteX0" fmla="*/ 1158967 w 3129120"/>
                  <a:gd name="connsiteY0" fmla="*/ 1188528 h 4445577"/>
                  <a:gd name="connsiteX1" fmla="*/ 1982493 w 3129120"/>
                  <a:gd name="connsiteY1" fmla="*/ 1186868 h 4445577"/>
                  <a:gd name="connsiteX2" fmla="*/ 2929979 w 3129120"/>
                  <a:gd name="connsiteY2" fmla="*/ 141359 h 4445577"/>
                  <a:gd name="connsiteX3" fmla="*/ 3129120 w 3129120"/>
                  <a:gd name="connsiteY3" fmla="*/ 237939 h 4445577"/>
                  <a:gd name="connsiteX4" fmla="*/ 2146994 w 3129120"/>
                  <a:gd name="connsiteY4" fmla="*/ 1541011 h 4445577"/>
                  <a:gd name="connsiteX5" fmla="*/ 1994798 w 3129120"/>
                  <a:gd name="connsiteY5" fmla="*/ 1658656 h 4445577"/>
                  <a:gd name="connsiteX6" fmla="*/ 2006725 w 3129120"/>
                  <a:gd name="connsiteY6" fmla="*/ 2873952 h 4445577"/>
                  <a:gd name="connsiteX7" fmla="*/ 1840990 w 3129120"/>
                  <a:gd name="connsiteY7" fmla="*/ 4359852 h 4445577"/>
                  <a:gd name="connsiteX8" fmla="*/ 1743835 w 3129120"/>
                  <a:gd name="connsiteY8" fmla="*/ 4445577 h 4445577"/>
                  <a:gd name="connsiteX9" fmla="*/ 1240915 w 3129120"/>
                  <a:gd name="connsiteY9" fmla="*/ 4445577 h 4445577"/>
                  <a:gd name="connsiteX10" fmla="*/ 1143760 w 3129120"/>
                  <a:gd name="connsiteY10" fmla="*/ 4314132 h 4445577"/>
                  <a:gd name="connsiteX11" fmla="*/ 995170 w 3129120"/>
                  <a:gd name="connsiteY11" fmla="*/ 2822517 h 4445577"/>
                  <a:gd name="connsiteX12" fmla="*/ 989455 w 3129120"/>
                  <a:gd name="connsiteY12" fmla="*/ 1588077 h 4445577"/>
                  <a:gd name="connsiteX13" fmla="*/ 778111 w 3129120"/>
                  <a:gd name="connsiteY13" fmla="*/ 1485929 h 4445577"/>
                  <a:gd name="connsiteX14" fmla="*/ 0 w 3129120"/>
                  <a:gd name="connsiteY14" fmla="*/ 193616 h 4445577"/>
                  <a:gd name="connsiteX15" fmla="*/ 220556 w 3129120"/>
                  <a:gd name="connsiteY15" fmla="*/ 44998 h 4445577"/>
                  <a:gd name="connsiteX16" fmla="*/ 1158967 w 3129120"/>
                  <a:gd name="connsiteY16" fmla="*/ 1188528 h 4445577"/>
                  <a:gd name="connsiteX0" fmla="*/ 1158967 w 3129120"/>
                  <a:gd name="connsiteY0" fmla="*/ 1188528 h 4445577"/>
                  <a:gd name="connsiteX1" fmla="*/ 1982493 w 3129120"/>
                  <a:gd name="connsiteY1" fmla="*/ 1186868 h 4445577"/>
                  <a:gd name="connsiteX2" fmla="*/ 2929979 w 3129120"/>
                  <a:gd name="connsiteY2" fmla="*/ 141359 h 4445577"/>
                  <a:gd name="connsiteX3" fmla="*/ 3129120 w 3129120"/>
                  <a:gd name="connsiteY3" fmla="*/ 237939 h 4445577"/>
                  <a:gd name="connsiteX4" fmla="*/ 2146994 w 3129120"/>
                  <a:gd name="connsiteY4" fmla="*/ 1541011 h 4445577"/>
                  <a:gd name="connsiteX5" fmla="*/ 1994798 w 3129120"/>
                  <a:gd name="connsiteY5" fmla="*/ 1658656 h 4445577"/>
                  <a:gd name="connsiteX6" fmla="*/ 2006725 w 3129120"/>
                  <a:gd name="connsiteY6" fmla="*/ 2873952 h 4445577"/>
                  <a:gd name="connsiteX7" fmla="*/ 1840990 w 3129120"/>
                  <a:gd name="connsiteY7" fmla="*/ 4359852 h 4445577"/>
                  <a:gd name="connsiteX8" fmla="*/ 1743835 w 3129120"/>
                  <a:gd name="connsiteY8" fmla="*/ 4445577 h 4445577"/>
                  <a:gd name="connsiteX9" fmla="*/ 1240915 w 3129120"/>
                  <a:gd name="connsiteY9" fmla="*/ 4445577 h 4445577"/>
                  <a:gd name="connsiteX10" fmla="*/ 1143760 w 3129120"/>
                  <a:gd name="connsiteY10" fmla="*/ 4314132 h 4445577"/>
                  <a:gd name="connsiteX11" fmla="*/ 995170 w 3129120"/>
                  <a:gd name="connsiteY11" fmla="*/ 2822517 h 4445577"/>
                  <a:gd name="connsiteX12" fmla="*/ 989455 w 3129120"/>
                  <a:gd name="connsiteY12" fmla="*/ 1588077 h 4445577"/>
                  <a:gd name="connsiteX13" fmla="*/ 819422 w 3129120"/>
                  <a:gd name="connsiteY13" fmla="*/ 1463396 h 4445577"/>
                  <a:gd name="connsiteX14" fmla="*/ 0 w 3129120"/>
                  <a:gd name="connsiteY14" fmla="*/ 193616 h 4445577"/>
                  <a:gd name="connsiteX15" fmla="*/ 220556 w 3129120"/>
                  <a:gd name="connsiteY15" fmla="*/ 44998 h 4445577"/>
                  <a:gd name="connsiteX16" fmla="*/ 1158967 w 3129120"/>
                  <a:gd name="connsiteY16" fmla="*/ 1188528 h 4445577"/>
                  <a:gd name="connsiteX0" fmla="*/ 1158967 w 3129120"/>
                  <a:gd name="connsiteY0" fmla="*/ 1188528 h 4445577"/>
                  <a:gd name="connsiteX1" fmla="*/ 1982493 w 3129120"/>
                  <a:gd name="connsiteY1" fmla="*/ 1186868 h 4445577"/>
                  <a:gd name="connsiteX2" fmla="*/ 2866135 w 3129120"/>
                  <a:gd name="connsiteY2" fmla="*/ 118827 h 4445577"/>
                  <a:gd name="connsiteX3" fmla="*/ 3129120 w 3129120"/>
                  <a:gd name="connsiteY3" fmla="*/ 237939 h 4445577"/>
                  <a:gd name="connsiteX4" fmla="*/ 2146994 w 3129120"/>
                  <a:gd name="connsiteY4" fmla="*/ 1541011 h 4445577"/>
                  <a:gd name="connsiteX5" fmla="*/ 1994798 w 3129120"/>
                  <a:gd name="connsiteY5" fmla="*/ 1658656 h 4445577"/>
                  <a:gd name="connsiteX6" fmla="*/ 2006725 w 3129120"/>
                  <a:gd name="connsiteY6" fmla="*/ 2873952 h 4445577"/>
                  <a:gd name="connsiteX7" fmla="*/ 1840990 w 3129120"/>
                  <a:gd name="connsiteY7" fmla="*/ 4359852 h 4445577"/>
                  <a:gd name="connsiteX8" fmla="*/ 1743835 w 3129120"/>
                  <a:gd name="connsiteY8" fmla="*/ 4445577 h 4445577"/>
                  <a:gd name="connsiteX9" fmla="*/ 1240915 w 3129120"/>
                  <a:gd name="connsiteY9" fmla="*/ 4445577 h 4445577"/>
                  <a:gd name="connsiteX10" fmla="*/ 1143760 w 3129120"/>
                  <a:gd name="connsiteY10" fmla="*/ 4314132 h 4445577"/>
                  <a:gd name="connsiteX11" fmla="*/ 995170 w 3129120"/>
                  <a:gd name="connsiteY11" fmla="*/ 2822517 h 4445577"/>
                  <a:gd name="connsiteX12" fmla="*/ 989455 w 3129120"/>
                  <a:gd name="connsiteY12" fmla="*/ 1588077 h 4445577"/>
                  <a:gd name="connsiteX13" fmla="*/ 819422 w 3129120"/>
                  <a:gd name="connsiteY13" fmla="*/ 1463396 h 4445577"/>
                  <a:gd name="connsiteX14" fmla="*/ 0 w 3129120"/>
                  <a:gd name="connsiteY14" fmla="*/ 193616 h 4445577"/>
                  <a:gd name="connsiteX15" fmla="*/ 220556 w 3129120"/>
                  <a:gd name="connsiteY15" fmla="*/ 44998 h 4445577"/>
                  <a:gd name="connsiteX16" fmla="*/ 1158967 w 3129120"/>
                  <a:gd name="connsiteY16" fmla="*/ 1188528 h 4445577"/>
                  <a:gd name="connsiteX0" fmla="*/ 1158967 w 3129120"/>
                  <a:gd name="connsiteY0" fmla="*/ 1233594 h 4490643"/>
                  <a:gd name="connsiteX1" fmla="*/ 1982493 w 3129120"/>
                  <a:gd name="connsiteY1" fmla="*/ 1231934 h 4490643"/>
                  <a:gd name="connsiteX2" fmla="*/ 2866135 w 3129120"/>
                  <a:gd name="connsiteY2" fmla="*/ 163893 h 4490643"/>
                  <a:gd name="connsiteX3" fmla="*/ 3129120 w 3129120"/>
                  <a:gd name="connsiteY3" fmla="*/ 283005 h 4490643"/>
                  <a:gd name="connsiteX4" fmla="*/ 2146994 w 3129120"/>
                  <a:gd name="connsiteY4" fmla="*/ 1586077 h 4490643"/>
                  <a:gd name="connsiteX5" fmla="*/ 1994798 w 3129120"/>
                  <a:gd name="connsiteY5" fmla="*/ 1703722 h 4490643"/>
                  <a:gd name="connsiteX6" fmla="*/ 2006725 w 3129120"/>
                  <a:gd name="connsiteY6" fmla="*/ 2919018 h 4490643"/>
                  <a:gd name="connsiteX7" fmla="*/ 1840990 w 3129120"/>
                  <a:gd name="connsiteY7" fmla="*/ 4404918 h 4490643"/>
                  <a:gd name="connsiteX8" fmla="*/ 1743835 w 3129120"/>
                  <a:gd name="connsiteY8" fmla="*/ 4490643 h 4490643"/>
                  <a:gd name="connsiteX9" fmla="*/ 1240915 w 3129120"/>
                  <a:gd name="connsiteY9" fmla="*/ 4490643 h 4490643"/>
                  <a:gd name="connsiteX10" fmla="*/ 1143760 w 3129120"/>
                  <a:gd name="connsiteY10" fmla="*/ 4359198 h 4490643"/>
                  <a:gd name="connsiteX11" fmla="*/ 995170 w 3129120"/>
                  <a:gd name="connsiteY11" fmla="*/ 2867583 h 4490643"/>
                  <a:gd name="connsiteX12" fmla="*/ 989455 w 3129120"/>
                  <a:gd name="connsiteY12" fmla="*/ 1633143 h 4490643"/>
                  <a:gd name="connsiteX13" fmla="*/ 819422 w 3129120"/>
                  <a:gd name="connsiteY13" fmla="*/ 1508462 h 4490643"/>
                  <a:gd name="connsiteX14" fmla="*/ 0 w 3129120"/>
                  <a:gd name="connsiteY14" fmla="*/ 238682 h 4490643"/>
                  <a:gd name="connsiteX15" fmla="*/ 318199 w 3129120"/>
                  <a:gd name="connsiteY15" fmla="*/ 44998 h 4490643"/>
                  <a:gd name="connsiteX16" fmla="*/ 1158967 w 3129120"/>
                  <a:gd name="connsiteY16" fmla="*/ 1233594 h 4490643"/>
                  <a:gd name="connsiteX0" fmla="*/ 1121412 w 3091565"/>
                  <a:gd name="connsiteY0" fmla="*/ 1233594 h 4490643"/>
                  <a:gd name="connsiteX1" fmla="*/ 1944938 w 3091565"/>
                  <a:gd name="connsiteY1" fmla="*/ 1231934 h 4490643"/>
                  <a:gd name="connsiteX2" fmla="*/ 2828580 w 3091565"/>
                  <a:gd name="connsiteY2" fmla="*/ 163893 h 4490643"/>
                  <a:gd name="connsiteX3" fmla="*/ 3091565 w 3091565"/>
                  <a:gd name="connsiteY3" fmla="*/ 283005 h 4490643"/>
                  <a:gd name="connsiteX4" fmla="*/ 2109439 w 3091565"/>
                  <a:gd name="connsiteY4" fmla="*/ 1586077 h 4490643"/>
                  <a:gd name="connsiteX5" fmla="*/ 1957243 w 3091565"/>
                  <a:gd name="connsiteY5" fmla="*/ 1703722 h 4490643"/>
                  <a:gd name="connsiteX6" fmla="*/ 1969170 w 3091565"/>
                  <a:gd name="connsiteY6" fmla="*/ 2919018 h 4490643"/>
                  <a:gd name="connsiteX7" fmla="*/ 1803435 w 3091565"/>
                  <a:gd name="connsiteY7" fmla="*/ 4404918 h 4490643"/>
                  <a:gd name="connsiteX8" fmla="*/ 1706280 w 3091565"/>
                  <a:gd name="connsiteY8" fmla="*/ 4490643 h 4490643"/>
                  <a:gd name="connsiteX9" fmla="*/ 1203360 w 3091565"/>
                  <a:gd name="connsiteY9" fmla="*/ 4490643 h 4490643"/>
                  <a:gd name="connsiteX10" fmla="*/ 1106205 w 3091565"/>
                  <a:gd name="connsiteY10" fmla="*/ 4359198 h 4490643"/>
                  <a:gd name="connsiteX11" fmla="*/ 957615 w 3091565"/>
                  <a:gd name="connsiteY11" fmla="*/ 2867583 h 4490643"/>
                  <a:gd name="connsiteX12" fmla="*/ 951900 w 3091565"/>
                  <a:gd name="connsiteY12" fmla="*/ 1633143 h 4490643"/>
                  <a:gd name="connsiteX13" fmla="*/ 781867 w 3091565"/>
                  <a:gd name="connsiteY13" fmla="*/ 1508462 h 4490643"/>
                  <a:gd name="connsiteX14" fmla="*/ 0 w 3091565"/>
                  <a:gd name="connsiteY14" fmla="*/ 167328 h 4490643"/>
                  <a:gd name="connsiteX15" fmla="*/ 280644 w 3091565"/>
                  <a:gd name="connsiteY15" fmla="*/ 44998 h 4490643"/>
                  <a:gd name="connsiteX16" fmla="*/ 1121412 w 3091565"/>
                  <a:gd name="connsiteY16" fmla="*/ 1233594 h 4490643"/>
                  <a:gd name="connsiteX0" fmla="*/ 1121412 w 3091565"/>
                  <a:gd name="connsiteY0" fmla="*/ 1203551 h 4460600"/>
                  <a:gd name="connsiteX1" fmla="*/ 1944938 w 3091565"/>
                  <a:gd name="connsiteY1" fmla="*/ 1201891 h 4460600"/>
                  <a:gd name="connsiteX2" fmla="*/ 2828580 w 3091565"/>
                  <a:gd name="connsiteY2" fmla="*/ 133850 h 4460600"/>
                  <a:gd name="connsiteX3" fmla="*/ 3091565 w 3091565"/>
                  <a:gd name="connsiteY3" fmla="*/ 252962 h 4460600"/>
                  <a:gd name="connsiteX4" fmla="*/ 2109439 w 3091565"/>
                  <a:gd name="connsiteY4" fmla="*/ 1556034 h 4460600"/>
                  <a:gd name="connsiteX5" fmla="*/ 1957243 w 3091565"/>
                  <a:gd name="connsiteY5" fmla="*/ 1673679 h 4460600"/>
                  <a:gd name="connsiteX6" fmla="*/ 1969170 w 3091565"/>
                  <a:gd name="connsiteY6" fmla="*/ 2888975 h 4460600"/>
                  <a:gd name="connsiteX7" fmla="*/ 1803435 w 3091565"/>
                  <a:gd name="connsiteY7" fmla="*/ 4374875 h 4460600"/>
                  <a:gd name="connsiteX8" fmla="*/ 1706280 w 3091565"/>
                  <a:gd name="connsiteY8" fmla="*/ 4460600 h 4460600"/>
                  <a:gd name="connsiteX9" fmla="*/ 1203360 w 3091565"/>
                  <a:gd name="connsiteY9" fmla="*/ 4460600 h 4460600"/>
                  <a:gd name="connsiteX10" fmla="*/ 1106205 w 3091565"/>
                  <a:gd name="connsiteY10" fmla="*/ 4329155 h 4460600"/>
                  <a:gd name="connsiteX11" fmla="*/ 957615 w 3091565"/>
                  <a:gd name="connsiteY11" fmla="*/ 2837540 h 4460600"/>
                  <a:gd name="connsiteX12" fmla="*/ 951900 w 3091565"/>
                  <a:gd name="connsiteY12" fmla="*/ 1603100 h 4460600"/>
                  <a:gd name="connsiteX13" fmla="*/ 781867 w 3091565"/>
                  <a:gd name="connsiteY13" fmla="*/ 1478419 h 4460600"/>
                  <a:gd name="connsiteX14" fmla="*/ 0 w 3091565"/>
                  <a:gd name="connsiteY14" fmla="*/ 137285 h 4460600"/>
                  <a:gd name="connsiteX15" fmla="*/ 295667 w 3091565"/>
                  <a:gd name="connsiteY15" fmla="*/ 44998 h 4460600"/>
                  <a:gd name="connsiteX16" fmla="*/ 1121412 w 3091565"/>
                  <a:gd name="connsiteY16" fmla="*/ 1203551 h 4460600"/>
                  <a:gd name="connsiteX0" fmla="*/ 1132679 w 3102832"/>
                  <a:gd name="connsiteY0" fmla="*/ 1206353 h 4463402"/>
                  <a:gd name="connsiteX1" fmla="*/ 1956205 w 3102832"/>
                  <a:gd name="connsiteY1" fmla="*/ 1204693 h 4463402"/>
                  <a:gd name="connsiteX2" fmla="*/ 2839847 w 3102832"/>
                  <a:gd name="connsiteY2" fmla="*/ 136652 h 4463402"/>
                  <a:gd name="connsiteX3" fmla="*/ 3102832 w 3102832"/>
                  <a:gd name="connsiteY3" fmla="*/ 255764 h 4463402"/>
                  <a:gd name="connsiteX4" fmla="*/ 2120706 w 3102832"/>
                  <a:gd name="connsiteY4" fmla="*/ 1558836 h 4463402"/>
                  <a:gd name="connsiteX5" fmla="*/ 1968510 w 3102832"/>
                  <a:gd name="connsiteY5" fmla="*/ 1676481 h 4463402"/>
                  <a:gd name="connsiteX6" fmla="*/ 1980437 w 3102832"/>
                  <a:gd name="connsiteY6" fmla="*/ 2891777 h 4463402"/>
                  <a:gd name="connsiteX7" fmla="*/ 1814702 w 3102832"/>
                  <a:gd name="connsiteY7" fmla="*/ 4377677 h 4463402"/>
                  <a:gd name="connsiteX8" fmla="*/ 1717547 w 3102832"/>
                  <a:gd name="connsiteY8" fmla="*/ 4463402 h 4463402"/>
                  <a:gd name="connsiteX9" fmla="*/ 1214627 w 3102832"/>
                  <a:gd name="connsiteY9" fmla="*/ 4463402 h 4463402"/>
                  <a:gd name="connsiteX10" fmla="*/ 1117472 w 3102832"/>
                  <a:gd name="connsiteY10" fmla="*/ 4331957 h 4463402"/>
                  <a:gd name="connsiteX11" fmla="*/ 968882 w 3102832"/>
                  <a:gd name="connsiteY11" fmla="*/ 2840342 h 4463402"/>
                  <a:gd name="connsiteX12" fmla="*/ 963167 w 3102832"/>
                  <a:gd name="connsiteY12" fmla="*/ 1605902 h 4463402"/>
                  <a:gd name="connsiteX13" fmla="*/ 793134 w 3102832"/>
                  <a:gd name="connsiteY13" fmla="*/ 1481221 h 4463402"/>
                  <a:gd name="connsiteX14" fmla="*/ 0 w 3102832"/>
                  <a:gd name="connsiteY14" fmla="*/ 113799 h 4463402"/>
                  <a:gd name="connsiteX15" fmla="*/ 306934 w 3102832"/>
                  <a:gd name="connsiteY15" fmla="*/ 47800 h 4463402"/>
                  <a:gd name="connsiteX16" fmla="*/ 1132679 w 3102832"/>
                  <a:gd name="connsiteY16" fmla="*/ 1206353 h 4463402"/>
                  <a:gd name="connsiteX0" fmla="*/ 1132679 w 3102832"/>
                  <a:gd name="connsiteY0" fmla="*/ 1206353 h 4463402"/>
                  <a:gd name="connsiteX1" fmla="*/ 1956205 w 3102832"/>
                  <a:gd name="connsiteY1" fmla="*/ 1204693 h 4463402"/>
                  <a:gd name="connsiteX2" fmla="*/ 2727182 w 3102832"/>
                  <a:gd name="connsiteY2" fmla="*/ 23988 h 4463402"/>
                  <a:gd name="connsiteX3" fmla="*/ 3102832 w 3102832"/>
                  <a:gd name="connsiteY3" fmla="*/ 255764 h 4463402"/>
                  <a:gd name="connsiteX4" fmla="*/ 2120706 w 3102832"/>
                  <a:gd name="connsiteY4" fmla="*/ 1558836 h 4463402"/>
                  <a:gd name="connsiteX5" fmla="*/ 1968510 w 3102832"/>
                  <a:gd name="connsiteY5" fmla="*/ 1676481 h 4463402"/>
                  <a:gd name="connsiteX6" fmla="*/ 1980437 w 3102832"/>
                  <a:gd name="connsiteY6" fmla="*/ 2891777 h 4463402"/>
                  <a:gd name="connsiteX7" fmla="*/ 1814702 w 3102832"/>
                  <a:gd name="connsiteY7" fmla="*/ 4377677 h 4463402"/>
                  <a:gd name="connsiteX8" fmla="*/ 1717547 w 3102832"/>
                  <a:gd name="connsiteY8" fmla="*/ 4463402 h 4463402"/>
                  <a:gd name="connsiteX9" fmla="*/ 1214627 w 3102832"/>
                  <a:gd name="connsiteY9" fmla="*/ 4463402 h 4463402"/>
                  <a:gd name="connsiteX10" fmla="*/ 1117472 w 3102832"/>
                  <a:gd name="connsiteY10" fmla="*/ 4331957 h 4463402"/>
                  <a:gd name="connsiteX11" fmla="*/ 968882 w 3102832"/>
                  <a:gd name="connsiteY11" fmla="*/ 2840342 h 4463402"/>
                  <a:gd name="connsiteX12" fmla="*/ 963167 w 3102832"/>
                  <a:gd name="connsiteY12" fmla="*/ 1605902 h 4463402"/>
                  <a:gd name="connsiteX13" fmla="*/ 793134 w 3102832"/>
                  <a:gd name="connsiteY13" fmla="*/ 1481221 h 4463402"/>
                  <a:gd name="connsiteX14" fmla="*/ 0 w 3102832"/>
                  <a:gd name="connsiteY14" fmla="*/ 113799 h 4463402"/>
                  <a:gd name="connsiteX15" fmla="*/ 306934 w 3102832"/>
                  <a:gd name="connsiteY15" fmla="*/ 47800 h 4463402"/>
                  <a:gd name="connsiteX16" fmla="*/ 1132679 w 3102832"/>
                  <a:gd name="connsiteY16" fmla="*/ 1206353 h 4463402"/>
                  <a:gd name="connsiteX0" fmla="*/ 1132679 w 2982656"/>
                  <a:gd name="connsiteY0" fmla="*/ 1209868 h 4466917"/>
                  <a:gd name="connsiteX1" fmla="*/ 1956205 w 2982656"/>
                  <a:gd name="connsiteY1" fmla="*/ 1208208 h 4466917"/>
                  <a:gd name="connsiteX2" fmla="*/ 2727182 w 2982656"/>
                  <a:gd name="connsiteY2" fmla="*/ 27503 h 4466917"/>
                  <a:gd name="connsiteX3" fmla="*/ 2982656 w 2982656"/>
                  <a:gd name="connsiteY3" fmla="*/ 79015 h 4466917"/>
                  <a:gd name="connsiteX4" fmla="*/ 2120706 w 2982656"/>
                  <a:gd name="connsiteY4" fmla="*/ 1562351 h 4466917"/>
                  <a:gd name="connsiteX5" fmla="*/ 1968510 w 2982656"/>
                  <a:gd name="connsiteY5" fmla="*/ 1679996 h 4466917"/>
                  <a:gd name="connsiteX6" fmla="*/ 1980437 w 2982656"/>
                  <a:gd name="connsiteY6" fmla="*/ 2895292 h 4466917"/>
                  <a:gd name="connsiteX7" fmla="*/ 1814702 w 2982656"/>
                  <a:gd name="connsiteY7" fmla="*/ 4381192 h 4466917"/>
                  <a:gd name="connsiteX8" fmla="*/ 1717547 w 2982656"/>
                  <a:gd name="connsiteY8" fmla="*/ 4466917 h 4466917"/>
                  <a:gd name="connsiteX9" fmla="*/ 1214627 w 2982656"/>
                  <a:gd name="connsiteY9" fmla="*/ 4466917 h 4466917"/>
                  <a:gd name="connsiteX10" fmla="*/ 1117472 w 2982656"/>
                  <a:gd name="connsiteY10" fmla="*/ 4335472 h 4466917"/>
                  <a:gd name="connsiteX11" fmla="*/ 968882 w 2982656"/>
                  <a:gd name="connsiteY11" fmla="*/ 2843857 h 4466917"/>
                  <a:gd name="connsiteX12" fmla="*/ 963167 w 2982656"/>
                  <a:gd name="connsiteY12" fmla="*/ 1609417 h 4466917"/>
                  <a:gd name="connsiteX13" fmla="*/ 793134 w 2982656"/>
                  <a:gd name="connsiteY13" fmla="*/ 1484736 h 4466917"/>
                  <a:gd name="connsiteX14" fmla="*/ 0 w 2982656"/>
                  <a:gd name="connsiteY14" fmla="*/ 117314 h 4466917"/>
                  <a:gd name="connsiteX15" fmla="*/ 306934 w 2982656"/>
                  <a:gd name="connsiteY15" fmla="*/ 51315 h 4466917"/>
                  <a:gd name="connsiteX16" fmla="*/ 1132679 w 2982656"/>
                  <a:gd name="connsiteY16" fmla="*/ 1209868 h 4466917"/>
                  <a:gd name="connsiteX0" fmla="*/ 1132679 w 2982656"/>
                  <a:gd name="connsiteY0" fmla="*/ 1209868 h 4466917"/>
                  <a:gd name="connsiteX1" fmla="*/ 1956205 w 2982656"/>
                  <a:gd name="connsiteY1" fmla="*/ 1208208 h 4466917"/>
                  <a:gd name="connsiteX2" fmla="*/ 2727182 w 2982656"/>
                  <a:gd name="connsiteY2" fmla="*/ 27503 h 4466917"/>
                  <a:gd name="connsiteX3" fmla="*/ 2982656 w 2982656"/>
                  <a:gd name="connsiteY3" fmla="*/ 79015 h 4466917"/>
                  <a:gd name="connsiteX4" fmla="*/ 2120706 w 2982656"/>
                  <a:gd name="connsiteY4" fmla="*/ 1562351 h 4466917"/>
                  <a:gd name="connsiteX5" fmla="*/ 1968510 w 2982656"/>
                  <a:gd name="connsiteY5" fmla="*/ 1679996 h 4466917"/>
                  <a:gd name="connsiteX6" fmla="*/ 1980437 w 2982656"/>
                  <a:gd name="connsiteY6" fmla="*/ 2895292 h 4466917"/>
                  <a:gd name="connsiteX7" fmla="*/ 1814702 w 2982656"/>
                  <a:gd name="connsiteY7" fmla="*/ 4381192 h 4466917"/>
                  <a:gd name="connsiteX8" fmla="*/ 1717547 w 2982656"/>
                  <a:gd name="connsiteY8" fmla="*/ 4466917 h 4466917"/>
                  <a:gd name="connsiteX9" fmla="*/ 1214627 w 2982656"/>
                  <a:gd name="connsiteY9" fmla="*/ 4466917 h 4466917"/>
                  <a:gd name="connsiteX10" fmla="*/ 1117472 w 2982656"/>
                  <a:gd name="connsiteY10" fmla="*/ 4335472 h 4466917"/>
                  <a:gd name="connsiteX11" fmla="*/ 968882 w 2982656"/>
                  <a:gd name="connsiteY11" fmla="*/ 2843857 h 4466917"/>
                  <a:gd name="connsiteX12" fmla="*/ 963167 w 2982656"/>
                  <a:gd name="connsiteY12" fmla="*/ 1609417 h 4466917"/>
                  <a:gd name="connsiteX13" fmla="*/ 793134 w 2982656"/>
                  <a:gd name="connsiteY13" fmla="*/ 1484736 h 4466917"/>
                  <a:gd name="connsiteX14" fmla="*/ 0 w 2982656"/>
                  <a:gd name="connsiteY14" fmla="*/ 117314 h 4466917"/>
                  <a:gd name="connsiteX15" fmla="*/ 306934 w 2982656"/>
                  <a:gd name="connsiteY15" fmla="*/ 51315 h 4466917"/>
                  <a:gd name="connsiteX16" fmla="*/ 1132679 w 2982656"/>
                  <a:gd name="connsiteY16" fmla="*/ 1209868 h 4466917"/>
                  <a:gd name="connsiteX0" fmla="*/ 1132679 w 2982656"/>
                  <a:gd name="connsiteY0" fmla="*/ 1209868 h 4466917"/>
                  <a:gd name="connsiteX1" fmla="*/ 1956205 w 2982656"/>
                  <a:gd name="connsiteY1" fmla="*/ 1208208 h 4466917"/>
                  <a:gd name="connsiteX2" fmla="*/ 2689627 w 2982656"/>
                  <a:gd name="connsiteY2" fmla="*/ 46282 h 4466917"/>
                  <a:gd name="connsiteX3" fmla="*/ 2982656 w 2982656"/>
                  <a:gd name="connsiteY3" fmla="*/ 79015 h 4466917"/>
                  <a:gd name="connsiteX4" fmla="*/ 2120706 w 2982656"/>
                  <a:gd name="connsiteY4" fmla="*/ 1562351 h 4466917"/>
                  <a:gd name="connsiteX5" fmla="*/ 1968510 w 2982656"/>
                  <a:gd name="connsiteY5" fmla="*/ 1679996 h 4466917"/>
                  <a:gd name="connsiteX6" fmla="*/ 1980437 w 2982656"/>
                  <a:gd name="connsiteY6" fmla="*/ 2895292 h 4466917"/>
                  <a:gd name="connsiteX7" fmla="*/ 1814702 w 2982656"/>
                  <a:gd name="connsiteY7" fmla="*/ 4381192 h 4466917"/>
                  <a:gd name="connsiteX8" fmla="*/ 1717547 w 2982656"/>
                  <a:gd name="connsiteY8" fmla="*/ 4466917 h 4466917"/>
                  <a:gd name="connsiteX9" fmla="*/ 1214627 w 2982656"/>
                  <a:gd name="connsiteY9" fmla="*/ 4466917 h 4466917"/>
                  <a:gd name="connsiteX10" fmla="*/ 1117472 w 2982656"/>
                  <a:gd name="connsiteY10" fmla="*/ 4335472 h 4466917"/>
                  <a:gd name="connsiteX11" fmla="*/ 968882 w 2982656"/>
                  <a:gd name="connsiteY11" fmla="*/ 2843857 h 4466917"/>
                  <a:gd name="connsiteX12" fmla="*/ 963167 w 2982656"/>
                  <a:gd name="connsiteY12" fmla="*/ 1609417 h 4466917"/>
                  <a:gd name="connsiteX13" fmla="*/ 793134 w 2982656"/>
                  <a:gd name="connsiteY13" fmla="*/ 1484736 h 4466917"/>
                  <a:gd name="connsiteX14" fmla="*/ 0 w 2982656"/>
                  <a:gd name="connsiteY14" fmla="*/ 117314 h 4466917"/>
                  <a:gd name="connsiteX15" fmla="*/ 306934 w 2982656"/>
                  <a:gd name="connsiteY15" fmla="*/ 51315 h 4466917"/>
                  <a:gd name="connsiteX16" fmla="*/ 1132679 w 2982656"/>
                  <a:gd name="connsiteY16" fmla="*/ 1209868 h 4466917"/>
                  <a:gd name="connsiteX0" fmla="*/ 1132679 w 2915058"/>
                  <a:gd name="connsiteY0" fmla="*/ 1206353 h 4463402"/>
                  <a:gd name="connsiteX1" fmla="*/ 1956205 w 2915058"/>
                  <a:gd name="connsiteY1" fmla="*/ 1204693 h 4463402"/>
                  <a:gd name="connsiteX2" fmla="*/ 2689627 w 2915058"/>
                  <a:gd name="connsiteY2" fmla="*/ 42767 h 4463402"/>
                  <a:gd name="connsiteX3" fmla="*/ 2915058 w 2915058"/>
                  <a:gd name="connsiteY3" fmla="*/ 86767 h 4463402"/>
                  <a:gd name="connsiteX4" fmla="*/ 2120706 w 2915058"/>
                  <a:gd name="connsiteY4" fmla="*/ 1558836 h 4463402"/>
                  <a:gd name="connsiteX5" fmla="*/ 1968510 w 2915058"/>
                  <a:gd name="connsiteY5" fmla="*/ 1676481 h 4463402"/>
                  <a:gd name="connsiteX6" fmla="*/ 1980437 w 2915058"/>
                  <a:gd name="connsiteY6" fmla="*/ 2891777 h 4463402"/>
                  <a:gd name="connsiteX7" fmla="*/ 1814702 w 2915058"/>
                  <a:gd name="connsiteY7" fmla="*/ 4377677 h 4463402"/>
                  <a:gd name="connsiteX8" fmla="*/ 1717547 w 2915058"/>
                  <a:gd name="connsiteY8" fmla="*/ 4463402 h 4463402"/>
                  <a:gd name="connsiteX9" fmla="*/ 1214627 w 2915058"/>
                  <a:gd name="connsiteY9" fmla="*/ 4463402 h 4463402"/>
                  <a:gd name="connsiteX10" fmla="*/ 1117472 w 2915058"/>
                  <a:gd name="connsiteY10" fmla="*/ 4331957 h 4463402"/>
                  <a:gd name="connsiteX11" fmla="*/ 968882 w 2915058"/>
                  <a:gd name="connsiteY11" fmla="*/ 2840342 h 4463402"/>
                  <a:gd name="connsiteX12" fmla="*/ 963167 w 2915058"/>
                  <a:gd name="connsiteY12" fmla="*/ 1605902 h 4463402"/>
                  <a:gd name="connsiteX13" fmla="*/ 793134 w 2915058"/>
                  <a:gd name="connsiteY13" fmla="*/ 1481221 h 4463402"/>
                  <a:gd name="connsiteX14" fmla="*/ 0 w 2915058"/>
                  <a:gd name="connsiteY14" fmla="*/ 113799 h 4463402"/>
                  <a:gd name="connsiteX15" fmla="*/ 306934 w 2915058"/>
                  <a:gd name="connsiteY15" fmla="*/ 47800 h 4463402"/>
                  <a:gd name="connsiteX16" fmla="*/ 1132679 w 2915058"/>
                  <a:gd name="connsiteY16" fmla="*/ 1206353 h 4463402"/>
                  <a:gd name="connsiteX0" fmla="*/ 1132679 w 2915058"/>
                  <a:gd name="connsiteY0" fmla="*/ 1206353 h 4463402"/>
                  <a:gd name="connsiteX1" fmla="*/ 1956205 w 2915058"/>
                  <a:gd name="connsiteY1" fmla="*/ 1204693 h 4463402"/>
                  <a:gd name="connsiteX2" fmla="*/ 2689627 w 2915058"/>
                  <a:gd name="connsiteY2" fmla="*/ 42767 h 4463402"/>
                  <a:gd name="connsiteX3" fmla="*/ 2915058 w 2915058"/>
                  <a:gd name="connsiteY3" fmla="*/ 86767 h 4463402"/>
                  <a:gd name="connsiteX4" fmla="*/ 2120706 w 2915058"/>
                  <a:gd name="connsiteY4" fmla="*/ 1558836 h 4463402"/>
                  <a:gd name="connsiteX5" fmla="*/ 1968510 w 2915058"/>
                  <a:gd name="connsiteY5" fmla="*/ 1676481 h 4463402"/>
                  <a:gd name="connsiteX6" fmla="*/ 1980437 w 2915058"/>
                  <a:gd name="connsiteY6" fmla="*/ 2891777 h 4463402"/>
                  <a:gd name="connsiteX7" fmla="*/ 1814702 w 2915058"/>
                  <a:gd name="connsiteY7" fmla="*/ 4377677 h 4463402"/>
                  <a:gd name="connsiteX8" fmla="*/ 1717547 w 2915058"/>
                  <a:gd name="connsiteY8" fmla="*/ 4463402 h 4463402"/>
                  <a:gd name="connsiteX9" fmla="*/ 1214627 w 2915058"/>
                  <a:gd name="connsiteY9" fmla="*/ 4463402 h 4463402"/>
                  <a:gd name="connsiteX10" fmla="*/ 1117472 w 2915058"/>
                  <a:gd name="connsiteY10" fmla="*/ 4331957 h 4463402"/>
                  <a:gd name="connsiteX11" fmla="*/ 968882 w 2915058"/>
                  <a:gd name="connsiteY11" fmla="*/ 2840342 h 4463402"/>
                  <a:gd name="connsiteX12" fmla="*/ 963167 w 2915058"/>
                  <a:gd name="connsiteY12" fmla="*/ 1605902 h 4463402"/>
                  <a:gd name="connsiteX13" fmla="*/ 793134 w 2915058"/>
                  <a:gd name="connsiteY13" fmla="*/ 1481221 h 4463402"/>
                  <a:gd name="connsiteX14" fmla="*/ 0 w 2915058"/>
                  <a:gd name="connsiteY14" fmla="*/ 113799 h 4463402"/>
                  <a:gd name="connsiteX15" fmla="*/ 306934 w 2915058"/>
                  <a:gd name="connsiteY15" fmla="*/ 47800 h 4463402"/>
                  <a:gd name="connsiteX16" fmla="*/ 1132679 w 2915058"/>
                  <a:gd name="connsiteY16" fmla="*/ 1206353 h 4463402"/>
                  <a:gd name="connsiteX0" fmla="*/ 1132679 w 2915058"/>
                  <a:gd name="connsiteY0" fmla="*/ 1206814 h 4463863"/>
                  <a:gd name="connsiteX1" fmla="*/ 1956205 w 2915058"/>
                  <a:gd name="connsiteY1" fmla="*/ 1205154 h 4463863"/>
                  <a:gd name="connsiteX2" fmla="*/ 2689627 w 2915058"/>
                  <a:gd name="connsiteY2" fmla="*/ 43228 h 4463863"/>
                  <a:gd name="connsiteX3" fmla="*/ 2915058 w 2915058"/>
                  <a:gd name="connsiteY3" fmla="*/ 87228 h 4463863"/>
                  <a:gd name="connsiteX4" fmla="*/ 2120706 w 2915058"/>
                  <a:gd name="connsiteY4" fmla="*/ 1559297 h 4463863"/>
                  <a:gd name="connsiteX5" fmla="*/ 1968510 w 2915058"/>
                  <a:gd name="connsiteY5" fmla="*/ 1676942 h 4463863"/>
                  <a:gd name="connsiteX6" fmla="*/ 1980437 w 2915058"/>
                  <a:gd name="connsiteY6" fmla="*/ 2892238 h 4463863"/>
                  <a:gd name="connsiteX7" fmla="*/ 1814702 w 2915058"/>
                  <a:gd name="connsiteY7" fmla="*/ 4378138 h 4463863"/>
                  <a:gd name="connsiteX8" fmla="*/ 1717547 w 2915058"/>
                  <a:gd name="connsiteY8" fmla="*/ 4463863 h 4463863"/>
                  <a:gd name="connsiteX9" fmla="*/ 1214627 w 2915058"/>
                  <a:gd name="connsiteY9" fmla="*/ 4463863 h 4463863"/>
                  <a:gd name="connsiteX10" fmla="*/ 1117472 w 2915058"/>
                  <a:gd name="connsiteY10" fmla="*/ 4332418 h 4463863"/>
                  <a:gd name="connsiteX11" fmla="*/ 968882 w 2915058"/>
                  <a:gd name="connsiteY11" fmla="*/ 2840803 h 4463863"/>
                  <a:gd name="connsiteX12" fmla="*/ 963167 w 2915058"/>
                  <a:gd name="connsiteY12" fmla="*/ 1606363 h 4463863"/>
                  <a:gd name="connsiteX13" fmla="*/ 793134 w 2915058"/>
                  <a:gd name="connsiteY13" fmla="*/ 1481682 h 4463863"/>
                  <a:gd name="connsiteX14" fmla="*/ 0 w 2915058"/>
                  <a:gd name="connsiteY14" fmla="*/ 114260 h 4463863"/>
                  <a:gd name="connsiteX15" fmla="*/ 306934 w 2915058"/>
                  <a:gd name="connsiteY15" fmla="*/ 48261 h 4463863"/>
                  <a:gd name="connsiteX16" fmla="*/ 1132679 w 2915058"/>
                  <a:gd name="connsiteY16" fmla="*/ 1206814 h 4463863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63166 w 2915058"/>
                  <a:gd name="connsiteY12" fmla="*/ 1614874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63166 w 2915058"/>
                  <a:gd name="connsiteY12" fmla="*/ 1614874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63166 w 2915058"/>
                  <a:gd name="connsiteY12" fmla="*/ 1614874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083368 w 2915058"/>
                  <a:gd name="connsiteY0" fmla="*/ 1197761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083368 w 2915058"/>
                  <a:gd name="connsiteY16" fmla="*/ 1197761 h 4446592"/>
                  <a:gd name="connsiteX0" fmla="*/ 1083368 w 2915058"/>
                  <a:gd name="connsiteY0" fmla="*/ 1197761 h 4446592"/>
                  <a:gd name="connsiteX1" fmla="*/ 1906609 w 2915058"/>
                  <a:gd name="connsiteY1" fmla="*/ 1196148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083368 w 2915058"/>
                  <a:gd name="connsiteY16" fmla="*/ 1197761 h 4446592"/>
                  <a:gd name="connsiteX0" fmla="*/ 1083368 w 2915058"/>
                  <a:gd name="connsiteY0" fmla="*/ 1197761 h 4446592"/>
                  <a:gd name="connsiteX1" fmla="*/ 1906609 w 2915058"/>
                  <a:gd name="connsiteY1" fmla="*/ 1196148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85044 w 2915058"/>
                  <a:gd name="connsiteY5" fmla="*/ 1651403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083368 w 2915058"/>
                  <a:gd name="connsiteY16" fmla="*/ 1197761 h 44465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915058" h="4446592">
                    <a:moveTo>
                      <a:pt x="1083368" y="1197761"/>
                    </a:moveTo>
                    <a:cubicBezTo>
                      <a:pt x="1417389" y="1191879"/>
                      <a:pt x="1678456" y="1157919"/>
                      <a:pt x="1906609" y="1196148"/>
                    </a:cubicBezTo>
                    <a:cubicBezTo>
                      <a:pt x="2016195" y="1139720"/>
                      <a:pt x="2572084" y="95080"/>
                      <a:pt x="2689627" y="25957"/>
                    </a:cubicBezTo>
                    <a:cubicBezTo>
                      <a:pt x="2692709" y="-17271"/>
                      <a:pt x="2895890" y="-9058"/>
                      <a:pt x="2915058" y="69957"/>
                    </a:cubicBezTo>
                    <a:cubicBezTo>
                      <a:pt x="2688864" y="554611"/>
                      <a:pt x="2476394" y="1141150"/>
                      <a:pt x="2120706" y="1542026"/>
                    </a:cubicBezTo>
                    <a:cubicBezTo>
                      <a:pt x="2059970" y="1591567"/>
                      <a:pt x="2082200" y="1588830"/>
                      <a:pt x="1985044" y="1651403"/>
                    </a:cubicBezTo>
                    <a:cubicBezTo>
                      <a:pt x="1983508" y="2059258"/>
                      <a:pt x="1981973" y="2467112"/>
                      <a:pt x="1980437" y="2874967"/>
                    </a:cubicBezTo>
                    <a:lnTo>
                      <a:pt x="1814702" y="4360867"/>
                    </a:lnTo>
                    <a:cubicBezTo>
                      <a:pt x="1810892" y="4395157"/>
                      <a:pt x="1755647" y="4446592"/>
                      <a:pt x="1717547" y="4446592"/>
                    </a:cubicBezTo>
                    <a:lnTo>
                      <a:pt x="1214627" y="4446592"/>
                    </a:lnTo>
                    <a:cubicBezTo>
                      <a:pt x="1159382" y="4442782"/>
                      <a:pt x="1121282" y="4370392"/>
                      <a:pt x="1117472" y="4315147"/>
                    </a:cubicBezTo>
                    <a:lnTo>
                      <a:pt x="968882" y="2823532"/>
                    </a:lnTo>
                    <a:cubicBezTo>
                      <a:pt x="966977" y="2412052"/>
                      <a:pt x="932195" y="2042790"/>
                      <a:pt x="930290" y="1631310"/>
                    </a:cubicBezTo>
                    <a:cubicBezTo>
                      <a:pt x="827906" y="1534429"/>
                      <a:pt x="844162" y="1516437"/>
                      <a:pt x="793134" y="1464411"/>
                    </a:cubicBezTo>
                    <a:lnTo>
                      <a:pt x="0" y="96989"/>
                    </a:lnTo>
                    <a:cubicBezTo>
                      <a:pt x="14706" y="-16810"/>
                      <a:pt x="204008" y="-14008"/>
                      <a:pt x="306934" y="30990"/>
                    </a:cubicBezTo>
                    <a:cubicBezTo>
                      <a:pt x="487190" y="194785"/>
                      <a:pt x="953828" y="1203476"/>
                      <a:pt x="1083368" y="1197761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 smtClean="0">
                  <a:solidFill>
                    <a:prstClr val="black"/>
                  </a:solidFill>
                </a:endParaRPr>
              </a:p>
            </p:txBody>
          </p:sp>
          <p:sp>
            <p:nvSpPr>
              <p:cNvPr id="14" name="Freeform 217"/>
              <p:cNvSpPr>
                <a:spLocks/>
              </p:cNvSpPr>
              <p:nvPr/>
            </p:nvSpPr>
            <p:spPr bwMode="auto">
              <a:xfrm rot="10800000">
                <a:off x="5275662" y="419791"/>
                <a:ext cx="258323" cy="271403"/>
              </a:xfrm>
              <a:custGeom>
                <a:avLst/>
                <a:gdLst/>
                <a:ahLst/>
                <a:cxnLst>
                  <a:cxn ang="0">
                    <a:pos x="0" y="84"/>
                  </a:cxn>
                  <a:cxn ang="0">
                    <a:pos x="0" y="84"/>
                  </a:cxn>
                  <a:cxn ang="0">
                    <a:pos x="2" y="104"/>
                  </a:cxn>
                  <a:cxn ang="0">
                    <a:pos x="4" y="122"/>
                  </a:cxn>
                  <a:cxn ang="0">
                    <a:pos x="10" y="136"/>
                  </a:cxn>
                  <a:cxn ang="0">
                    <a:pos x="18" y="148"/>
                  </a:cxn>
                  <a:cxn ang="0">
                    <a:pos x="30" y="156"/>
                  </a:cxn>
                  <a:cxn ang="0">
                    <a:pos x="42" y="162"/>
                  </a:cxn>
                  <a:cxn ang="0">
                    <a:pos x="60" y="166"/>
                  </a:cxn>
                  <a:cxn ang="0">
                    <a:pos x="78" y="166"/>
                  </a:cxn>
                  <a:cxn ang="0">
                    <a:pos x="78" y="166"/>
                  </a:cxn>
                  <a:cxn ang="0">
                    <a:pos x="98" y="166"/>
                  </a:cxn>
                  <a:cxn ang="0">
                    <a:pos x="116" y="162"/>
                  </a:cxn>
                  <a:cxn ang="0">
                    <a:pos x="128" y="156"/>
                  </a:cxn>
                  <a:cxn ang="0">
                    <a:pos x="140" y="148"/>
                  </a:cxn>
                  <a:cxn ang="0">
                    <a:pos x="148" y="136"/>
                  </a:cxn>
                  <a:cxn ang="0">
                    <a:pos x="154" y="122"/>
                  </a:cxn>
                  <a:cxn ang="0">
                    <a:pos x="156" y="104"/>
                  </a:cxn>
                  <a:cxn ang="0">
                    <a:pos x="158" y="84"/>
                  </a:cxn>
                  <a:cxn ang="0">
                    <a:pos x="158" y="84"/>
                  </a:cxn>
                  <a:cxn ang="0">
                    <a:pos x="156" y="62"/>
                  </a:cxn>
                  <a:cxn ang="0">
                    <a:pos x="154" y="46"/>
                  </a:cxn>
                  <a:cxn ang="0">
                    <a:pos x="148" y="30"/>
                  </a:cxn>
                  <a:cxn ang="0">
                    <a:pos x="140" y="20"/>
                  </a:cxn>
                  <a:cxn ang="0">
                    <a:pos x="128" y="10"/>
                  </a:cxn>
                  <a:cxn ang="0">
                    <a:pos x="116" y="4"/>
                  </a:cxn>
                  <a:cxn ang="0">
                    <a:pos x="98" y="2"/>
                  </a:cxn>
                  <a:cxn ang="0">
                    <a:pos x="78" y="0"/>
                  </a:cxn>
                  <a:cxn ang="0">
                    <a:pos x="78" y="0"/>
                  </a:cxn>
                  <a:cxn ang="0">
                    <a:pos x="60" y="2"/>
                  </a:cxn>
                  <a:cxn ang="0">
                    <a:pos x="42" y="4"/>
                  </a:cxn>
                  <a:cxn ang="0">
                    <a:pos x="30" y="10"/>
                  </a:cxn>
                  <a:cxn ang="0">
                    <a:pos x="18" y="20"/>
                  </a:cxn>
                  <a:cxn ang="0">
                    <a:pos x="10" y="30"/>
                  </a:cxn>
                  <a:cxn ang="0">
                    <a:pos x="4" y="46"/>
                  </a:cxn>
                  <a:cxn ang="0">
                    <a:pos x="2" y="62"/>
                  </a:cxn>
                  <a:cxn ang="0">
                    <a:pos x="0" y="84"/>
                  </a:cxn>
                </a:cxnLst>
                <a:rect l="0" t="0" r="r" b="b"/>
                <a:pathLst>
                  <a:path w="158" h="166">
                    <a:moveTo>
                      <a:pt x="0" y="84"/>
                    </a:moveTo>
                    <a:lnTo>
                      <a:pt x="0" y="84"/>
                    </a:lnTo>
                    <a:lnTo>
                      <a:pt x="2" y="104"/>
                    </a:lnTo>
                    <a:lnTo>
                      <a:pt x="4" y="122"/>
                    </a:lnTo>
                    <a:lnTo>
                      <a:pt x="10" y="136"/>
                    </a:lnTo>
                    <a:lnTo>
                      <a:pt x="18" y="148"/>
                    </a:lnTo>
                    <a:lnTo>
                      <a:pt x="30" y="156"/>
                    </a:lnTo>
                    <a:lnTo>
                      <a:pt x="42" y="162"/>
                    </a:lnTo>
                    <a:lnTo>
                      <a:pt x="60" y="166"/>
                    </a:lnTo>
                    <a:lnTo>
                      <a:pt x="78" y="166"/>
                    </a:lnTo>
                    <a:lnTo>
                      <a:pt x="78" y="166"/>
                    </a:lnTo>
                    <a:lnTo>
                      <a:pt x="98" y="166"/>
                    </a:lnTo>
                    <a:lnTo>
                      <a:pt x="116" y="162"/>
                    </a:lnTo>
                    <a:lnTo>
                      <a:pt x="128" y="156"/>
                    </a:lnTo>
                    <a:lnTo>
                      <a:pt x="140" y="148"/>
                    </a:lnTo>
                    <a:lnTo>
                      <a:pt x="148" y="136"/>
                    </a:lnTo>
                    <a:lnTo>
                      <a:pt x="154" y="122"/>
                    </a:lnTo>
                    <a:lnTo>
                      <a:pt x="156" y="104"/>
                    </a:lnTo>
                    <a:lnTo>
                      <a:pt x="158" y="84"/>
                    </a:lnTo>
                    <a:lnTo>
                      <a:pt x="158" y="84"/>
                    </a:lnTo>
                    <a:lnTo>
                      <a:pt x="156" y="62"/>
                    </a:lnTo>
                    <a:lnTo>
                      <a:pt x="154" y="46"/>
                    </a:lnTo>
                    <a:lnTo>
                      <a:pt x="148" y="30"/>
                    </a:lnTo>
                    <a:lnTo>
                      <a:pt x="140" y="20"/>
                    </a:lnTo>
                    <a:lnTo>
                      <a:pt x="128" y="10"/>
                    </a:lnTo>
                    <a:lnTo>
                      <a:pt x="116" y="4"/>
                    </a:lnTo>
                    <a:lnTo>
                      <a:pt x="98" y="2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60" y="2"/>
                    </a:lnTo>
                    <a:lnTo>
                      <a:pt x="42" y="4"/>
                    </a:lnTo>
                    <a:lnTo>
                      <a:pt x="30" y="10"/>
                    </a:lnTo>
                    <a:lnTo>
                      <a:pt x="18" y="20"/>
                    </a:lnTo>
                    <a:lnTo>
                      <a:pt x="10" y="30"/>
                    </a:lnTo>
                    <a:lnTo>
                      <a:pt x="4" y="46"/>
                    </a:lnTo>
                    <a:lnTo>
                      <a:pt x="2" y="62"/>
                    </a:lnTo>
                    <a:lnTo>
                      <a:pt x="0" y="8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5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12" name="Freeform 66"/>
            <p:cNvSpPr>
              <a:spLocks noEditPoints="1"/>
            </p:cNvSpPr>
            <p:nvPr/>
          </p:nvSpPr>
          <p:spPr bwMode="auto">
            <a:xfrm>
              <a:off x="2644022" y="4054313"/>
              <a:ext cx="258802" cy="123579"/>
            </a:xfrm>
            <a:custGeom>
              <a:avLst/>
              <a:gdLst/>
              <a:ahLst/>
              <a:cxnLst>
                <a:cxn ang="0">
                  <a:pos x="180" y="2"/>
                </a:cxn>
                <a:cxn ang="0">
                  <a:pos x="122" y="16"/>
                </a:cxn>
                <a:cxn ang="0">
                  <a:pos x="72" y="46"/>
                </a:cxn>
                <a:cxn ang="0">
                  <a:pos x="34" y="88"/>
                </a:cxn>
                <a:cxn ang="0">
                  <a:pos x="8" y="142"/>
                </a:cxn>
                <a:cxn ang="0">
                  <a:pos x="0" y="200"/>
                </a:cxn>
                <a:cxn ang="0">
                  <a:pos x="4" y="242"/>
                </a:cxn>
                <a:cxn ang="0">
                  <a:pos x="24" y="296"/>
                </a:cxn>
                <a:cxn ang="0">
                  <a:pos x="58" y="342"/>
                </a:cxn>
                <a:cxn ang="0">
                  <a:pos x="104" y="378"/>
                </a:cxn>
                <a:cxn ang="0">
                  <a:pos x="160" y="398"/>
                </a:cxn>
                <a:cxn ang="0">
                  <a:pos x="200" y="402"/>
                </a:cxn>
                <a:cxn ang="0">
                  <a:pos x="260" y="392"/>
                </a:cxn>
                <a:cxn ang="0">
                  <a:pos x="312" y="368"/>
                </a:cxn>
                <a:cxn ang="0">
                  <a:pos x="354" y="328"/>
                </a:cxn>
                <a:cxn ang="0">
                  <a:pos x="384" y="280"/>
                </a:cxn>
                <a:cxn ang="0">
                  <a:pos x="398" y="222"/>
                </a:cxn>
                <a:cxn ang="0">
                  <a:pos x="398" y="180"/>
                </a:cxn>
                <a:cxn ang="0">
                  <a:pos x="384" y="122"/>
                </a:cxn>
                <a:cxn ang="0">
                  <a:pos x="354" y="74"/>
                </a:cxn>
                <a:cxn ang="0">
                  <a:pos x="312" y="34"/>
                </a:cxn>
                <a:cxn ang="0">
                  <a:pos x="260" y="10"/>
                </a:cxn>
                <a:cxn ang="0">
                  <a:pos x="200" y="0"/>
                </a:cxn>
                <a:cxn ang="0">
                  <a:pos x="200" y="368"/>
                </a:cxn>
                <a:cxn ang="0">
                  <a:pos x="150" y="360"/>
                </a:cxn>
                <a:cxn ang="0">
                  <a:pos x="106" y="338"/>
                </a:cxn>
                <a:cxn ang="0">
                  <a:pos x="72" y="306"/>
                </a:cxn>
                <a:cxn ang="0">
                  <a:pos x="46" y="266"/>
                </a:cxn>
                <a:cxn ang="0">
                  <a:pos x="34" y="218"/>
                </a:cxn>
                <a:cxn ang="0">
                  <a:pos x="34" y="184"/>
                </a:cxn>
                <a:cxn ang="0">
                  <a:pos x="46" y="136"/>
                </a:cxn>
                <a:cxn ang="0">
                  <a:pos x="72" y="96"/>
                </a:cxn>
                <a:cxn ang="0">
                  <a:pos x="106" y="64"/>
                </a:cxn>
                <a:cxn ang="0">
                  <a:pos x="150" y="42"/>
                </a:cxn>
                <a:cxn ang="0">
                  <a:pos x="200" y="34"/>
                </a:cxn>
                <a:cxn ang="0">
                  <a:pos x="234" y="38"/>
                </a:cxn>
                <a:cxn ang="0">
                  <a:pos x="278" y="54"/>
                </a:cxn>
                <a:cxn ang="0">
                  <a:pos x="318" y="84"/>
                </a:cxn>
                <a:cxn ang="0">
                  <a:pos x="346" y="122"/>
                </a:cxn>
                <a:cxn ang="0">
                  <a:pos x="362" y="168"/>
                </a:cxn>
                <a:cxn ang="0">
                  <a:pos x="366" y="200"/>
                </a:cxn>
                <a:cxn ang="0">
                  <a:pos x="358" y="250"/>
                </a:cxn>
                <a:cxn ang="0">
                  <a:pos x="338" y="294"/>
                </a:cxn>
                <a:cxn ang="0">
                  <a:pos x="306" y="330"/>
                </a:cxn>
                <a:cxn ang="0">
                  <a:pos x="264" y="354"/>
                </a:cxn>
                <a:cxn ang="0">
                  <a:pos x="216" y="366"/>
                </a:cxn>
              </a:cxnLst>
              <a:rect l="0" t="0" r="r" b="b"/>
              <a:pathLst>
                <a:path w="400" h="402">
                  <a:moveTo>
                    <a:pt x="200" y="0"/>
                  </a:moveTo>
                  <a:lnTo>
                    <a:pt x="200" y="0"/>
                  </a:lnTo>
                  <a:lnTo>
                    <a:pt x="180" y="2"/>
                  </a:lnTo>
                  <a:lnTo>
                    <a:pt x="160" y="4"/>
                  </a:lnTo>
                  <a:lnTo>
                    <a:pt x="140" y="10"/>
                  </a:lnTo>
                  <a:lnTo>
                    <a:pt x="122" y="16"/>
                  </a:lnTo>
                  <a:lnTo>
                    <a:pt x="104" y="24"/>
                  </a:lnTo>
                  <a:lnTo>
                    <a:pt x="88" y="34"/>
                  </a:lnTo>
                  <a:lnTo>
                    <a:pt x="72" y="46"/>
                  </a:lnTo>
                  <a:lnTo>
                    <a:pt x="58" y="60"/>
                  </a:lnTo>
                  <a:lnTo>
                    <a:pt x="44" y="74"/>
                  </a:lnTo>
                  <a:lnTo>
                    <a:pt x="34" y="88"/>
                  </a:lnTo>
                  <a:lnTo>
                    <a:pt x="24" y="106"/>
                  </a:lnTo>
                  <a:lnTo>
                    <a:pt x="14" y="122"/>
                  </a:lnTo>
                  <a:lnTo>
                    <a:pt x="8" y="142"/>
                  </a:lnTo>
                  <a:lnTo>
                    <a:pt x="4" y="160"/>
                  </a:lnTo>
                  <a:lnTo>
                    <a:pt x="0" y="180"/>
                  </a:lnTo>
                  <a:lnTo>
                    <a:pt x="0" y="200"/>
                  </a:lnTo>
                  <a:lnTo>
                    <a:pt x="0" y="200"/>
                  </a:lnTo>
                  <a:lnTo>
                    <a:pt x="0" y="222"/>
                  </a:lnTo>
                  <a:lnTo>
                    <a:pt x="4" y="242"/>
                  </a:lnTo>
                  <a:lnTo>
                    <a:pt x="8" y="260"/>
                  </a:lnTo>
                  <a:lnTo>
                    <a:pt x="14" y="280"/>
                  </a:lnTo>
                  <a:lnTo>
                    <a:pt x="24" y="296"/>
                  </a:lnTo>
                  <a:lnTo>
                    <a:pt x="34" y="314"/>
                  </a:lnTo>
                  <a:lnTo>
                    <a:pt x="44" y="328"/>
                  </a:lnTo>
                  <a:lnTo>
                    <a:pt x="58" y="342"/>
                  </a:lnTo>
                  <a:lnTo>
                    <a:pt x="72" y="356"/>
                  </a:lnTo>
                  <a:lnTo>
                    <a:pt x="88" y="368"/>
                  </a:lnTo>
                  <a:lnTo>
                    <a:pt x="104" y="378"/>
                  </a:lnTo>
                  <a:lnTo>
                    <a:pt x="122" y="386"/>
                  </a:lnTo>
                  <a:lnTo>
                    <a:pt x="140" y="392"/>
                  </a:lnTo>
                  <a:lnTo>
                    <a:pt x="160" y="398"/>
                  </a:lnTo>
                  <a:lnTo>
                    <a:pt x="180" y="400"/>
                  </a:lnTo>
                  <a:lnTo>
                    <a:pt x="200" y="402"/>
                  </a:lnTo>
                  <a:lnTo>
                    <a:pt x="200" y="402"/>
                  </a:lnTo>
                  <a:lnTo>
                    <a:pt x="220" y="400"/>
                  </a:lnTo>
                  <a:lnTo>
                    <a:pt x="240" y="398"/>
                  </a:lnTo>
                  <a:lnTo>
                    <a:pt x="260" y="392"/>
                  </a:lnTo>
                  <a:lnTo>
                    <a:pt x="278" y="386"/>
                  </a:lnTo>
                  <a:lnTo>
                    <a:pt x="296" y="378"/>
                  </a:lnTo>
                  <a:lnTo>
                    <a:pt x="312" y="368"/>
                  </a:lnTo>
                  <a:lnTo>
                    <a:pt x="328" y="356"/>
                  </a:lnTo>
                  <a:lnTo>
                    <a:pt x="342" y="342"/>
                  </a:lnTo>
                  <a:lnTo>
                    <a:pt x="354" y="328"/>
                  </a:lnTo>
                  <a:lnTo>
                    <a:pt x="366" y="314"/>
                  </a:lnTo>
                  <a:lnTo>
                    <a:pt x="376" y="296"/>
                  </a:lnTo>
                  <a:lnTo>
                    <a:pt x="384" y="280"/>
                  </a:lnTo>
                  <a:lnTo>
                    <a:pt x="390" y="260"/>
                  </a:lnTo>
                  <a:lnTo>
                    <a:pt x="396" y="242"/>
                  </a:lnTo>
                  <a:lnTo>
                    <a:pt x="398" y="222"/>
                  </a:lnTo>
                  <a:lnTo>
                    <a:pt x="400" y="200"/>
                  </a:lnTo>
                  <a:lnTo>
                    <a:pt x="400" y="200"/>
                  </a:lnTo>
                  <a:lnTo>
                    <a:pt x="398" y="180"/>
                  </a:lnTo>
                  <a:lnTo>
                    <a:pt x="396" y="160"/>
                  </a:lnTo>
                  <a:lnTo>
                    <a:pt x="390" y="142"/>
                  </a:lnTo>
                  <a:lnTo>
                    <a:pt x="384" y="122"/>
                  </a:lnTo>
                  <a:lnTo>
                    <a:pt x="376" y="106"/>
                  </a:lnTo>
                  <a:lnTo>
                    <a:pt x="366" y="88"/>
                  </a:lnTo>
                  <a:lnTo>
                    <a:pt x="354" y="74"/>
                  </a:lnTo>
                  <a:lnTo>
                    <a:pt x="342" y="60"/>
                  </a:lnTo>
                  <a:lnTo>
                    <a:pt x="328" y="46"/>
                  </a:lnTo>
                  <a:lnTo>
                    <a:pt x="312" y="34"/>
                  </a:lnTo>
                  <a:lnTo>
                    <a:pt x="296" y="24"/>
                  </a:lnTo>
                  <a:lnTo>
                    <a:pt x="278" y="16"/>
                  </a:lnTo>
                  <a:lnTo>
                    <a:pt x="260" y="10"/>
                  </a:lnTo>
                  <a:lnTo>
                    <a:pt x="240" y="4"/>
                  </a:lnTo>
                  <a:lnTo>
                    <a:pt x="220" y="2"/>
                  </a:lnTo>
                  <a:lnTo>
                    <a:pt x="200" y="0"/>
                  </a:lnTo>
                  <a:lnTo>
                    <a:pt x="200" y="0"/>
                  </a:lnTo>
                  <a:close/>
                  <a:moveTo>
                    <a:pt x="200" y="368"/>
                  </a:moveTo>
                  <a:lnTo>
                    <a:pt x="200" y="368"/>
                  </a:lnTo>
                  <a:lnTo>
                    <a:pt x="182" y="366"/>
                  </a:lnTo>
                  <a:lnTo>
                    <a:pt x="166" y="364"/>
                  </a:lnTo>
                  <a:lnTo>
                    <a:pt x="150" y="360"/>
                  </a:lnTo>
                  <a:lnTo>
                    <a:pt x="134" y="354"/>
                  </a:lnTo>
                  <a:lnTo>
                    <a:pt x="120" y="348"/>
                  </a:lnTo>
                  <a:lnTo>
                    <a:pt x="106" y="338"/>
                  </a:lnTo>
                  <a:lnTo>
                    <a:pt x="94" y="330"/>
                  </a:lnTo>
                  <a:lnTo>
                    <a:pt x="82" y="318"/>
                  </a:lnTo>
                  <a:lnTo>
                    <a:pt x="72" y="306"/>
                  </a:lnTo>
                  <a:lnTo>
                    <a:pt x="62" y="294"/>
                  </a:lnTo>
                  <a:lnTo>
                    <a:pt x="54" y="280"/>
                  </a:lnTo>
                  <a:lnTo>
                    <a:pt x="46" y="266"/>
                  </a:lnTo>
                  <a:lnTo>
                    <a:pt x="40" y="250"/>
                  </a:lnTo>
                  <a:lnTo>
                    <a:pt x="36" y="234"/>
                  </a:lnTo>
                  <a:lnTo>
                    <a:pt x="34" y="218"/>
                  </a:lnTo>
                  <a:lnTo>
                    <a:pt x="34" y="200"/>
                  </a:lnTo>
                  <a:lnTo>
                    <a:pt x="34" y="200"/>
                  </a:lnTo>
                  <a:lnTo>
                    <a:pt x="34" y="184"/>
                  </a:lnTo>
                  <a:lnTo>
                    <a:pt x="36" y="168"/>
                  </a:lnTo>
                  <a:lnTo>
                    <a:pt x="40" y="152"/>
                  </a:lnTo>
                  <a:lnTo>
                    <a:pt x="46" y="136"/>
                  </a:lnTo>
                  <a:lnTo>
                    <a:pt x="54" y="122"/>
                  </a:lnTo>
                  <a:lnTo>
                    <a:pt x="62" y="108"/>
                  </a:lnTo>
                  <a:lnTo>
                    <a:pt x="72" y="96"/>
                  </a:lnTo>
                  <a:lnTo>
                    <a:pt x="82" y="84"/>
                  </a:lnTo>
                  <a:lnTo>
                    <a:pt x="94" y="72"/>
                  </a:lnTo>
                  <a:lnTo>
                    <a:pt x="106" y="64"/>
                  </a:lnTo>
                  <a:lnTo>
                    <a:pt x="120" y="54"/>
                  </a:lnTo>
                  <a:lnTo>
                    <a:pt x="134" y="48"/>
                  </a:lnTo>
                  <a:lnTo>
                    <a:pt x="150" y="42"/>
                  </a:lnTo>
                  <a:lnTo>
                    <a:pt x="166" y="38"/>
                  </a:lnTo>
                  <a:lnTo>
                    <a:pt x="182" y="36"/>
                  </a:lnTo>
                  <a:lnTo>
                    <a:pt x="200" y="34"/>
                  </a:lnTo>
                  <a:lnTo>
                    <a:pt x="200" y="34"/>
                  </a:lnTo>
                  <a:lnTo>
                    <a:pt x="216" y="36"/>
                  </a:lnTo>
                  <a:lnTo>
                    <a:pt x="234" y="38"/>
                  </a:lnTo>
                  <a:lnTo>
                    <a:pt x="250" y="42"/>
                  </a:lnTo>
                  <a:lnTo>
                    <a:pt x="264" y="48"/>
                  </a:lnTo>
                  <a:lnTo>
                    <a:pt x="278" y="54"/>
                  </a:lnTo>
                  <a:lnTo>
                    <a:pt x="292" y="64"/>
                  </a:lnTo>
                  <a:lnTo>
                    <a:pt x="306" y="72"/>
                  </a:lnTo>
                  <a:lnTo>
                    <a:pt x="318" y="84"/>
                  </a:lnTo>
                  <a:lnTo>
                    <a:pt x="328" y="96"/>
                  </a:lnTo>
                  <a:lnTo>
                    <a:pt x="338" y="108"/>
                  </a:lnTo>
                  <a:lnTo>
                    <a:pt x="346" y="122"/>
                  </a:lnTo>
                  <a:lnTo>
                    <a:pt x="352" y="136"/>
                  </a:lnTo>
                  <a:lnTo>
                    <a:pt x="358" y="152"/>
                  </a:lnTo>
                  <a:lnTo>
                    <a:pt x="362" y="168"/>
                  </a:lnTo>
                  <a:lnTo>
                    <a:pt x="366" y="184"/>
                  </a:lnTo>
                  <a:lnTo>
                    <a:pt x="366" y="200"/>
                  </a:lnTo>
                  <a:lnTo>
                    <a:pt x="366" y="200"/>
                  </a:lnTo>
                  <a:lnTo>
                    <a:pt x="366" y="218"/>
                  </a:lnTo>
                  <a:lnTo>
                    <a:pt x="362" y="234"/>
                  </a:lnTo>
                  <a:lnTo>
                    <a:pt x="358" y="250"/>
                  </a:lnTo>
                  <a:lnTo>
                    <a:pt x="352" y="266"/>
                  </a:lnTo>
                  <a:lnTo>
                    <a:pt x="346" y="280"/>
                  </a:lnTo>
                  <a:lnTo>
                    <a:pt x="338" y="294"/>
                  </a:lnTo>
                  <a:lnTo>
                    <a:pt x="328" y="306"/>
                  </a:lnTo>
                  <a:lnTo>
                    <a:pt x="318" y="318"/>
                  </a:lnTo>
                  <a:lnTo>
                    <a:pt x="306" y="330"/>
                  </a:lnTo>
                  <a:lnTo>
                    <a:pt x="292" y="338"/>
                  </a:lnTo>
                  <a:lnTo>
                    <a:pt x="278" y="348"/>
                  </a:lnTo>
                  <a:lnTo>
                    <a:pt x="264" y="354"/>
                  </a:lnTo>
                  <a:lnTo>
                    <a:pt x="250" y="360"/>
                  </a:lnTo>
                  <a:lnTo>
                    <a:pt x="234" y="364"/>
                  </a:lnTo>
                  <a:lnTo>
                    <a:pt x="216" y="366"/>
                  </a:lnTo>
                  <a:lnTo>
                    <a:pt x="200" y="368"/>
                  </a:lnTo>
                  <a:lnTo>
                    <a:pt x="200" y="36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400" dirty="0">
                <a:solidFill>
                  <a:prstClr val="black"/>
                </a:solidFill>
              </a:endParaRPr>
            </a:p>
          </p:txBody>
        </p:sp>
      </p:grpSp>
      <p:sp>
        <p:nvSpPr>
          <p:cNvPr id="15" name="Oval 14"/>
          <p:cNvSpPr/>
          <p:nvPr/>
        </p:nvSpPr>
        <p:spPr>
          <a:xfrm>
            <a:off x="6329545" y="1300303"/>
            <a:ext cx="2612574" cy="2615184"/>
          </a:xfrm>
          <a:prstGeom prst="ellipse">
            <a:avLst/>
          </a:prstGeom>
          <a:noFill/>
          <a:ln w="190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5" descr="C:\Users\lopezga\Documents\a-FY14\Icons 2014\MIsc_Icons\Certificate_small-usage\Certificate_small-usage_RGB\Certificate_small-usage_RGB_white_NT.png"/>
          <p:cNvPicPr preferRelativeResize="0"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0113" y="2348296"/>
            <a:ext cx="305023" cy="2863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 Placeholder 1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1">
              <a:lnSpc>
                <a:spcPct val="200000"/>
              </a:lnSpc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en-US" sz="1400" dirty="0" smtClean="0">
                <a:solidFill>
                  <a:srgbClr val="0070C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Introduction </a:t>
            </a:r>
            <a:r>
              <a:rPr lang="en-US" sz="1400" dirty="0">
                <a:solidFill>
                  <a:srgbClr val="0070C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o Apache Hadoop</a:t>
            </a:r>
          </a:p>
          <a:p>
            <a:pPr lvl="1">
              <a:lnSpc>
                <a:spcPct val="200000"/>
              </a:lnSpc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en-US" sz="1400" dirty="0">
                <a:solidFill>
                  <a:srgbClr val="0070C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Various Hadoop Distributions</a:t>
            </a:r>
          </a:p>
          <a:p>
            <a:pPr lvl="1">
              <a:lnSpc>
                <a:spcPct val="200000"/>
              </a:lnSpc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en-US" sz="1400" dirty="0">
                <a:solidFill>
                  <a:srgbClr val="0070C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Cloudera Hadoop Distribution</a:t>
            </a:r>
          </a:p>
          <a:p>
            <a:pPr lvl="1">
              <a:lnSpc>
                <a:spcPct val="200000"/>
              </a:lnSpc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en-US" sz="1400" dirty="0">
                <a:solidFill>
                  <a:srgbClr val="0070C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1400" dirty="0" smtClean="0">
                <a:solidFill>
                  <a:srgbClr val="0070C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A closer look at Hortonworks and MapR</a:t>
            </a:r>
            <a:endParaRPr lang="en-US" sz="1400" dirty="0">
              <a:solidFill>
                <a:srgbClr val="0070C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lvl="1">
              <a:lnSpc>
                <a:spcPct val="200000"/>
              </a:lnSpc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en-US" sz="1400" dirty="0">
                <a:solidFill>
                  <a:srgbClr val="0070C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1400" dirty="0" smtClean="0">
                <a:solidFill>
                  <a:srgbClr val="0070C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How to choose a Hadoop Distribution</a:t>
            </a:r>
            <a:endParaRPr lang="en-US" sz="1400" dirty="0">
              <a:solidFill>
                <a:srgbClr val="0070C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4996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471985" y="162939"/>
            <a:ext cx="7801682" cy="442912"/>
          </a:xfrm>
        </p:spPr>
        <p:txBody>
          <a:bodyPr/>
          <a:lstStyle/>
          <a:p>
            <a:pPr defTabSz="685783"/>
            <a:r>
              <a:rPr lang="en-US" dirty="0" smtClean="0">
                <a:solidFill>
                  <a:srgbClr val="262626"/>
                </a:solidFill>
              </a:rPr>
              <a:t>Survey</a:t>
            </a:r>
            <a:endParaRPr lang="en-IN" dirty="0">
              <a:solidFill>
                <a:srgbClr val="26262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4447372" y="4650261"/>
            <a:ext cx="3473450" cy="288925"/>
          </a:xfrm>
        </p:spPr>
        <p:txBody>
          <a:bodyPr/>
          <a:lstStyle/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1657" y="3129498"/>
            <a:ext cx="3457575" cy="466725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385590" y="903383"/>
            <a:ext cx="8637224" cy="13747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30213">
              <a:spcAft>
                <a:spcPts val="400"/>
              </a:spcAft>
              <a:buSzPct val="100000"/>
            </a:pPr>
            <a:r>
              <a:rPr lang="en-IN" sz="1600" dirty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Your feedback is vital for us, be it a compliment, a suggestion or a complaint. It helps us to make your experience better!</a:t>
            </a:r>
            <a:br>
              <a:rPr lang="en-IN" sz="1600" dirty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en-IN" sz="1600" dirty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/>
            </a:r>
            <a:br>
              <a:rPr lang="en-IN" sz="1600" dirty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en-IN" sz="1600" dirty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lease spare few minutes to take the survey after the webinar. </a:t>
            </a:r>
          </a:p>
          <a:p>
            <a:pPr marL="0" defTabSz="430213">
              <a:spcAft>
                <a:spcPts val="400"/>
              </a:spcAft>
              <a:buSzPct val="100000"/>
            </a:pPr>
            <a:endParaRPr lang="en-US" sz="1600" dirty="0" err="1" smtClean="0">
              <a:solidFill>
                <a:srgbClr val="000000"/>
              </a:solidFill>
              <a:cs typeface="HP Simplified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8677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78449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90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48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4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Thank You …</a:t>
            </a:r>
          </a:p>
          <a:p>
            <a:endParaRPr lang="en-US" sz="3200" b="1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32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 Questions/Queries/Feedback</a:t>
            </a:r>
            <a:endParaRPr lang="en-US" sz="32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sz="2000" b="1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20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   Recording and presentation will be made available to you within 24 hours</a:t>
            </a:r>
            <a:endParaRPr lang="en-US" sz="2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6185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262626"/>
                </a:solidFill>
              </a:rPr>
              <a:t>Where it all started – Apache Hadoop</a:t>
            </a:r>
            <a:endParaRPr lang="en-IN" dirty="0">
              <a:solidFill>
                <a:srgbClr val="262626"/>
              </a:solidFill>
            </a:endParaRPr>
          </a:p>
          <a:p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517561" y="1091290"/>
            <a:ext cx="742436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e Apache Hadoop is an open source framework that </a:t>
            </a:r>
            <a:r>
              <a:rPr lang="en-US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llows </a:t>
            </a:r>
            <a:r>
              <a:rPr lang="en-US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istributed processing </a:t>
            </a:r>
            <a:r>
              <a:rPr lang="en-US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f  </a:t>
            </a:r>
            <a:r>
              <a:rPr lang="en-US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arge data sets across clusters of computers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17561" y="2081366"/>
            <a:ext cx="783532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adoop introduced a new way to simplify the analysis of large data sets, and in a very short time reshaped the big data </a:t>
            </a:r>
            <a:r>
              <a:rPr lang="en-US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arket</a:t>
            </a:r>
            <a:r>
              <a:rPr lang="en-US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d have become the synonym for big data</a:t>
            </a:r>
            <a:endParaRPr lang="en-US" sz="1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endParaRPr lang="en-US" sz="1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8566" y="2955910"/>
            <a:ext cx="2903371" cy="1408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2020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defTabSz="685783"/>
            <a:r>
              <a:rPr lang="en-US" dirty="0">
                <a:solidFill>
                  <a:srgbClr val="262626"/>
                </a:solidFill>
              </a:rPr>
              <a:t>A closer look at Apache Hadoop</a:t>
            </a:r>
            <a:endParaRPr lang="en-IN" dirty="0">
              <a:solidFill>
                <a:srgbClr val="262626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70755" y="863029"/>
            <a:ext cx="8221182" cy="229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pache Hadoop includes following modules :</a:t>
            </a:r>
          </a:p>
          <a:p>
            <a:endParaRPr lang="en-US" sz="13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endParaRPr lang="en-US" sz="13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en-US" sz="1300" dirty="0" smtClean="0">
                <a:solidFill>
                  <a:srgbClr val="00B0F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adoop Distributed File System (HDFS)</a:t>
            </a:r>
            <a:r>
              <a:rPr lang="en-US" sz="13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 A distributed file system that provides access to application data</a:t>
            </a:r>
          </a:p>
          <a:p>
            <a:endParaRPr lang="en-US" sz="13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en-US" sz="1300" dirty="0" smtClean="0">
                <a:solidFill>
                  <a:srgbClr val="00B0F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adoop Common</a:t>
            </a:r>
            <a:r>
              <a:rPr lang="en-US" sz="13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 The common utilities that support the other Hadoop modules</a:t>
            </a:r>
          </a:p>
          <a:p>
            <a:endParaRPr lang="en-US" sz="13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en-US" sz="1300" dirty="0" smtClean="0">
                <a:solidFill>
                  <a:srgbClr val="00B0F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adoop YARN</a:t>
            </a:r>
            <a:r>
              <a:rPr lang="en-US" sz="13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 A framework for job scheduling and cluster resource management</a:t>
            </a:r>
          </a:p>
          <a:p>
            <a:endParaRPr lang="en-US" sz="13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en-US" sz="1300" dirty="0" smtClean="0">
                <a:solidFill>
                  <a:srgbClr val="00B0F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adoop MapReduce</a:t>
            </a:r>
            <a:r>
              <a:rPr lang="en-US" sz="13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 A YARN-based system for parallel processing of large data sets</a:t>
            </a:r>
          </a:p>
          <a:p>
            <a:endParaRPr lang="en-US" sz="13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8566" y="2955910"/>
            <a:ext cx="2903371" cy="1408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1536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defTabSz="685783"/>
            <a:r>
              <a:rPr lang="en-US" dirty="0" smtClean="0">
                <a:solidFill>
                  <a:srgbClr val="262626"/>
                </a:solidFill>
              </a:rPr>
              <a:t>Popular Hadoop </a:t>
            </a:r>
            <a:r>
              <a:rPr lang="en-US" dirty="0">
                <a:solidFill>
                  <a:srgbClr val="262626"/>
                </a:solidFill>
              </a:rPr>
              <a:t>Distributions</a:t>
            </a:r>
            <a:endParaRPr lang="en-IN" dirty="0">
              <a:solidFill>
                <a:srgbClr val="262626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6200" y="818042"/>
            <a:ext cx="2434140" cy="184759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5318" y="3158692"/>
            <a:ext cx="3422000" cy="78068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453" y="2845324"/>
            <a:ext cx="3001128" cy="11535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9655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163512" y="96838"/>
            <a:ext cx="8550829" cy="442912"/>
          </a:xfrm>
        </p:spPr>
        <p:txBody>
          <a:bodyPr/>
          <a:lstStyle/>
          <a:p>
            <a:pPr defTabSz="685783"/>
            <a:r>
              <a:rPr lang="en-US" dirty="0">
                <a:solidFill>
                  <a:srgbClr val="262626"/>
                </a:solidFill>
              </a:rPr>
              <a:t>Popular Hadoop </a:t>
            </a:r>
            <a:r>
              <a:rPr lang="en-US" dirty="0" smtClean="0">
                <a:solidFill>
                  <a:srgbClr val="262626"/>
                </a:solidFill>
              </a:rPr>
              <a:t>Distributions - </a:t>
            </a:r>
            <a:r>
              <a:rPr lang="en-US" dirty="0">
                <a:solidFill>
                  <a:srgbClr val="262626"/>
                </a:solidFill>
              </a:rPr>
              <a:t>Cloudera</a:t>
            </a:r>
            <a:endParaRPr lang="en-IN" dirty="0">
              <a:solidFill>
                <a:srgbClr val="262626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3348" y="1895936"/>
            <a:ext cx="2434140" cy="1847599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564741" y="1497435"/>
            <a:ext cx="797274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ounded by a group of engineers from Yahoo, Google</a:t>
            </a:r>
            <a:r>
              <a:rPr lang="en-US" sz="1400" dirty="0">
                <a:solidFill>
                  <a:srgbClr val="00B0F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d Facebook </a:t>
            </a:r>
            <a:r>
              <a:rPr lang="en-US" sz="1400" dirty="0">
                <a:solidFill>
                  <a:srgbClr val="00B0F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loudera ranks top </a:t>
            </a:r>
            <a:r>
              <a:rPr lang="en-US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 the big data vendors list for making Hadoop a reliable platform for business use since </a:t>
            </a:r>
            <a:r>
              <a:rPr lang="en-US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08</a:t>
            </a:r>
            <a:endParaRPr lang="en-US" sz="1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6010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defTabSz="685783"/>
            <a:r>
              <a:rPr lang="en-US" dirty="0">
                <a:solidFill>
                  <a:srgbClr val="262626"/>
                </a:solidFill>
              </a:rPr>
              <a:t>A closer look at Cloudera - CDH</a:t>
            </a:r>
            <a:endParaRPr lang="en-IN" dirty="0">
              <a:solidFill>
                <a:srgbClr val="262626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9500" y="1395262"/>
            <a:ext cx="4880578" cy="3101529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408614" y="849785"/>
            <a:ext cx="850361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01B0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loudera Hadoop (CDH)  </a:t>
            </a:r>
            <a:r>
              <a:rPr lang="en-US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 </a:t>
            </a:r>
            <a:r>
              <a:rPr lang="en-US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CDH </a:t>
            </a:r>
            <a:r>
              <a:rPr lang="en-US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cludes the core elements of Hadoop along with additional components such as a user interface, security</a:t>
            </a:r>
            <a:r>
              <a:rPr lang="en-US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en-US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d integration with a broad range of hardware and software </a:t>
            </a:r>
          </a:p>
        </p:txBody>
      </p:sp>
    </p:spTree>
    <p:extLst>
      <p:ext uri="{BB962C8B-B14F-4D97-AF65-F5344CB8AC3E}">
        <p14:creationId xmlns:p14="http://schemas.microsoft.com/office/powerpoint/2010/main" val="732604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defTabSz="685783"/>
            <a:r>
              <a:rPr lang="en-US" dirty="0">
                <a:solidFill>
                  <a:srgbClr val="262626"/>
                </a:solidFill>
              </a:rPr>
              <a:t>A closer look at Cloudera – Cloudera Manager</a:t>
            </a:r>
            <a:endParaRPr lang="en-IN" dirty="0">
              <a:solidFill>
                <a:srgbClr val="262626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64547" y="869903"/>
            <a:ext cx="843750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00B0F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loudera </a:t>
            </a:r>
            <a:r>
              <a:rPr lang="en-US" sz="1400" dirty="0">
                <a:solidFill>
                  <a:srgbClr val="00B0F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anager </a:t>
            </a:r>
            <a:r>
              <a:rPr lang="en-US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akes administration of your enterprise data hub simple and straightforward, at any </a:t>
            </a:r>
            <a:r>
              <a:rPr lang="en-US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cale. With </a:t>
            </a:r>
            <a:r>
              <a:rPr lang="en-US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loudera Manager, you can easily deploy and centrally operate the complete Big Data stack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27052" y="1546171"/>
            <a:ext cx="1971675" cy="240030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009" y="1546171"/>
            <a:ext cx="4845868" cy="28211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6636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6085" y="2452372"/>
            <a:ext cx="2212855" cy="1679636"/>
          </a:xfrm>
          <a:prstGeom prst="rect">
            <a:avLst/>
          </a:prstGeom>
        </p:spPr>
      </p:pic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defTabSz="685783"/>
            <a:r>
              <a:rPr lang="en-US" dirty="0">
                <a:solidFill>
                  <a:srgbClr val="262626"/>
                </a:solidFill>
              </a:rPr>
              <a:t>A closer look at Cloudera – Other Products </a:t>
            </a:r>
            <a:endParaRPr lang="en-IN" dirty="0">
              <a:solidFill>
                <a:srgbClr val="262626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84290" y="1018742"/>
            <a:ext cx="8196153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00B0F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loudera </a:t>
            </a:r>
            <a:r>
              <a:rPr lang="en-US" sz="1400" dirty="0">
                <a:solidFill>
                  <a:srgbClr val="00B0F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xpress </a:t>
            </a:r>
            <a:r>
              <a:rPr lang="en-US" sz="1400" dirty="0" smtClean="0">
                <a:solidFill>
                  <a:srgbClr val="00B0F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  </a:t>
            </a:r>
            <a:r>
              <a:rPr lang="en-US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loudera Express is a free download that combines CDH with Cloudera Manager, which provides robust cluster management capabilities like automated deployment, centralized administration, monitoring, and diagnostic </a:t>
            </a:r>
            <a:r>
              <a:rPr lang="en-US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ools</a:t>
            </a:r>
            <a:endParaRPr lang="en-US" sz="1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endParaRPr lang="en-US" sz="14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endParaRPr lang="en-US" sz="1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endParaRPr lang="en-US" sz="14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en-US" sz="1400" dirty="0">
                <a:solidFill>
                  <a:srgbClr val="00B0F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loudera Enterprise </a:t>
            </a:r>
            <a:r>
              <a:rPr lang="en-US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  Cloudera Enterprise includes CDH with advanced system management and data management tools plus dedicated support from Cloudera </a:t>
            </a:r>
          </a:p>
          <a:p>
            <a:endParaRPr lang="en-US" sz="14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endParaRPr lang="en-US" sz="1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endParaRPr lang="en-US" sz="14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endParaRPr lang="en-US" sz="14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en-US" sz="1400" dirty="0">
                <a:solidFill>
                  <a:srgbClr val="00B0F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loudera Director </a:t>
            </a:r>
            <a:r>
              <a:rPr lang="en-US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  Cloudera Director extends Cloudera's enterprise data hub architecture to the cloud, without compromising on security, management, and governance</a:t>
            </a:r>
          </a:p>
        </p:txBody>
      </p:sp>
    </p:spTree>
    <p:extLst>
      <p:ext uri="{BB962C8B-B14F-4D97-AF65-F5344CB8AC3E}">
        <p14:creationId xmlns:p14="http://schemas.microsoft.com/office/powerpoint/2010/main" val="2182039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41"/>
  <p:tag name="THINKCELLPRESENTATIONDONOTDELETE" val="&lt;?xml version=&quot;1.0&quot; encoding=&quot;UTF-16&quot; standalone=&quot;yes&quot;?&gt;&#10;&lt;root reqver=&quot;21047&quot;&gt;&lt;version val=&quot;2324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0" defTabSz="430213">
          <a:spcAft>
            <a:spcPts val="400"/>
          </a:spcAft>
          <a:buSzPct val="100000"/>
          <a:defRPr sz="1600" dirty="0" err="1" smtClean="0">
            <a:solidFill>
              <a:srgbClr val="000000"/>
            </a:solidFill>
            <a:cs typeface="HP Simplified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 Template_draft" id="{957F4146-F5AB-4E0E-82D2-073AEC3111DC}" vid="{FEF3ECC3-917D-446F-BEF5-E72B18F60BC7}"/>
    </a:ext>
  </a:extLst>
</a:theme>
</file>

<file path=ppt/theme/theme2.xml><?xml version="1.0" encoding="utf-8"?>
<a:theme xmlns:a="http://schemas.openxmlformats.org/drawingml/2006/main" name="1_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 Template_draft" id="{957F4146-F5AB-4E0E-82D2-073AEC3111DC}" vid="{0015F941-E9FD-4CAA-AFA0-E65D8BF27FB0}"/>
    </a:ext>
  </a:extLst>
</a:theme>
</file>

<file path=ppt/theme/theme3.xml><?xml version="1.0" encoding="utf-8"?>
<a:theme xmlns:a="http://schemas.openxmlformats.org/drawingml/2006/main" name="2_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 Template_draft" id="{957F4146-F5AB-4E0E-82D2-073AEC3111DC}" vid="{DEAE102A-4C22-46DF-993C-9D680011CC54}"/>
    </a:ext>
  </a:extLst>
</a:theme>
</file>

<file path=ppt/theme/theme4.xml><?xml version="1.0" encoding="utf-8"?>
<a:theme xmlns:a="http://schemas.openxmlformats.org/drawingml/2006/main" name="3_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 Template_draft" id="{957F4146-F5AB-4E0E-82D2-073AEC3111DC}" vid="{A6D0AC9E-56AA-4570-A7ED-930DBCE09879}"/>
    </a:ext>
  </a:extLst>
</a:theme>
</file>

<file path=ppt/theme/theme5.xml><?xml version="1.0" encoding="utf-8"?>
<a:theme xmlns:a="http://schemas.openxmlformats.org/drawingml/2006/main" name="Office Theme">
  <a:themeElements>
    <a:clrScheme name="HP Theme colors">
      <a:dk1>
        <a:sysClr val="windowText" lastClr="000000"/>
      </a:dk1>
      <a:lt1>
        <a:sysClr val="window" lastClr="FFFFFF"/>
      </a:lt1>
      <a:dk2>
        <a:srgbClr val="000000"/>
      </a:dk2>
      <a:lt2>
        <a:srgbClr val="EEECE1"/>
      </a:lt2>
      <a:accent1>
        <a:srgbClr val="0096D6"/>
      </a:accent1>
      <a:accent2>
        <a:srgbClr val="F05332"/>
      </a:accent2>
      <a:accent3>
        <a:srgbClr val="B7CA34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1812</TotalTime>
  <Words>825</Words>
  <Application>Microsoft Office PowerPoint</Application>
  <PresentationFormat>On-screen Show (16:9)</PresentationFormat>
  <Paragraphs>88</Paragraphs>
  <Slides>2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35" baseType="lpstr">
      <vt:lpstr>Futura Bk</vt:lpstr>
      <vt:lpstr>Calibri</vt:lpstr>
      <vt:lpstr>Courier New</vt:lpstr>
      <vt:lpstr>HP Simplified</vt:lpstr>
      <vt:lpstr>Wingdings</vt:lpstr>
      <vt:lpstr>Arial</vt:lpstr>
      <vt:lpstr>Futura Hv</vt:lpstr>
      <vt:lpstr>Tahoma</vt:lpstr>
      <vt:lpstr>Lucida Grande</vt:lpstr>
      <vt:lpstr>HP_PPT_Standard_16x9</vt:lpstr>
      <vt:lpstr>1_HP_PPT_Standard_16x9</vt:lpstr>
      <vt:lpstr>2_HP_PPT_Standard_16x9</vt:lpstr>
      <vt:lpstr>3_HP_PPT_Standard_16x9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htab Alam</dc:creator>
  <cp:lastModifiedBy>Mahtab Alam</cp:lastModifiedBy>
  <cp:revision>139</cp:revision>
  <cp:lastPrinted>2012-04-13T15:38:33Z</cp:lastPrinted>
  <dcterms:created xsi:type="dcterms:W3CDTF">2012-05-02T14:03:12Z</dcterms:created>
  <dcterms:modified xsi:type="dcterms:W3CDTF">2015-10-13T09:52:04Z</dcterms:modified>
</cp:coreProperties>
</file>